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4" r:id="rId1"/>
  </p:sldMasterIdLst>
  <p:notesMasterIdLst>
    <p:notesMasterId r:id="rId19"/>
  </p:notesMasterIdLst>
  <p:handoutMasterIdLst>
    <p:handoutMasterId r:id="rId20"/>
  </p:handoutMasterIdLst>
  <p:sldIdLst>
    <p:sldId id="859" r:id="rId2"/>
    <p:sldId id="876" r:id="rId3"/>
    <p:sldId id="881" r:id="rId4"/>
    <p:sldId id="882" r:id="rId5"/>
    <p:sldId id="883" r:id="rId6"/>
    <p:sldId id="884" r:id="rId7"/>
    <p:sldId id="897" r:id="rId8"/>
    <p:sldId id="904" r:id="rId9"/>
    <p:sldId id="903" r:id="rId10"/>
    <p:sldId id="893" r:id="rId11"/>
    <p:sldId id="894" r:id="rId12"/>
    <p:sldId id="895" r:id="rId13"/>
    <p:sldId id="896" r:id="rId14"/>
    <p:sldId id="868" r:id="rId15"/>
    <p:sldId id="892" r:id="rId16"/>
    <p:sldId id="873" r:id="rId17"/>
    <p:sldId id="901" r:id="rId18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5B26E07-475F-409B-B3B5-613F3D82AAF1}">
          <p14:sldIdLst>
            <p14:sldId id="859"/>
            <p14:sldId id="876"/>
            <p14:sldId id="881"/>
            <p14:sldId id="882"/>
            <p14:sldId id="883"/>
            <p14:sldId id="884"/>
            <p14:sldId id="897"/>
            <p14:sldId id="904"/>
            <p14:sldId id="903"/>
            <p14:sldId id="893"/>
            <p14:sldId id="894"/>
            <p14:sldId id="895"/>
            <p14:sldId id="896"/>
            <p14:sldId id="868"/>
            <p14:sldId id="892"/>
            <p14:sldId id="873"/>
            <p14:sldId id="9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75">
          <p15:clr>
            <a:srgbClr val="A4A3A4"/>
          </p15:clr>
        </p15:guide>
        <p15:guide id="2" orient="horz" pos="2154">
          <p15:clr>
            <a:srgbClr val="A4A3A4"/>
          </p15:clr>
        </p15:guide>
        <p15:guide id="3" pos="6120">
          <p15:clr>
            <a:srgbClr val="A4A3A4"/>
          </p15:clr>
        </p15:guide>
        <p15:guide id="4" pos="415" userDrawn="1">
          <p15:clr>
            <a:srgbClr val="A4A3A4"/>
          </p15:clr>
        </p15:guide>
        <p15:guide id="5" pos="4179">
          <p15:clr>
            <a:srgbClr val="A4A3A4"/>
          </p15:clr>
        </p15:guide>
        <p15:guide id="6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CCAB"/>
    <a:srgbClr val="79B213"/>
    <a:srgbClr val="FF823F"/>
    <a:srgbClr val="11A74C"/>
    <a:srgbClr val="FAFAFA"/>
    <a:srgbClr val="139884"/>
    <a:srgbClr val="FFFFFF"/>
    <a:srgbClr val="6A6A6A"/>
    <a:srgbClr val="000000"/>
    <a:srgbClr val="E5F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7" autoAdjust="0"/>
    <p:restoredTop sz="90115" autoAdjust="0"/>
  </p:normalViewPr>
  <p:slideViewPr>
    <p:cSldViewPr snapToGrid="0" snapToObjects="1">
      <p:cViewPr varScale="1">
        <p:scale>
          <a:sx n="104" d="100"/>
          <a:sy n="104" d="100"/>
        </p:scale>
        <p:origin x="282" y="204"/>
      </p:cViewPr>
      <p:guideLst>
        <p:guide orient="horz" pos="3575"/>
        <p:guide orient="horz" pos="2154"/>
        <p:guide pos="6120"/>
        <p:guide pos="415"/>
        <p:guide pos="4179"/>
        <p:guide pos="2304"/>
      </p:guideLst>
    </p:cSldViewPr>
  </p:slideViewPr>
  <p:outlineViewPr>
    <p:cViewPr>
      <p:scale>
        <a:sx n="33" d="100"/>
        <a:sy n="33" d="100"/>
      </p:scale>
      <p:origin x="0" y="-5409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2" d="100"/>
          <a:sy n="52" d="100"/>
        </p:scale>
        <p:origin x="30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76723-B8D6-4B8F-AE76-564FFD55B01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EB68B8-4780-47CF-A435-960EDF4B37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425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23912-14FC-9B45-B2C9-28A671C57350}" type="datetimeFigureOut">
              <a:rPr lang="en-US" smtClean="0"/>
              <a:t>11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BC0883-0DBB-4A45-B9EC-4D5F3A927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46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3163-A6A1-4A19-B7EF-00B930F39AC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565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/>
              <a:t>Что такое </a:t>
            </a:r>
            <a:r>
              <a:rPr lang="en-US" sz="1200" dirty="0" smtClean="0"/>
              <a:t>Pricing</a:t>
            </a:r>
            <a:r>
              <a:rPr lang="en-US" sz="1200" baseline="0" dirty="0" smtClean="0"/>
              <a:t> Servic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Облачный сервис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«одного окна» для работы с ПФИ</a:t>
            </a:r>
            <a:r>
              <a:rPr lang="en-US" sz="1200" baseline="0" dirty="0" smtClean="0"/>
              <a:t>: </a:t>
            </a:r>
            <a:r>
              <a:rPr lang="ru-RU" sz="1200" baseline="0" dirty="0" smtClean="0"/>
              <a:t>оценка, риск, </a:t>
            </a:r>
            <a:r>
              <a:rPr lang="en-US" sz="1200" baseline="0" dirty="0" smtClean="0"/>
              <a:t>CVA, </a:t>
            </a:r>
            <a:r>
              <a:rPr lang="en-US" sz="1200" baseline="0" dirty="0" err="1" smtClean="0"/>
              <a:t>PnlExplain</a:t>
            </a:r>
            <a:r>
              <a:rPr lang="en-US" sz="1200" baseline="0" dirty="0" smtClean="0"/>
              <a:t>, </a:t>
            </a:r>
            <a:r>
              <a:rPr lang="ru-RU" sz="1200" baseline="0" dirty="0" smtClean="0"/>
              <a:t>сценарии,</a:t>
            </a:r>
            <a:r>
              <a:rPr lang="en-US" sz="1200" baseline="0" dirty="0" smtClean="0"/>
              <a:t> </a:t>
            </a:r>
            <a:r>
              <a:rPr lang="ru-RU" sz="1200" baseline="0" dirty="0" err="1" smtClean="0"/>
              <a:t>стрес</a:t>
            </a:r>
            <a:r>
              <a:rPr lang="ru-RU" sz="1200" baseline="0" dirty="0" smtClean="0"/>
              <a:t> </a:t>
            </a:r>
            <a:r>
              <a:rPr lang="ru-RU" sz="1200" baseline="0" dirty="0" err="1" smtClean="0"/>
              <a:t>стест</a:t>
            </a:r>
            <a:r>
              <a:rPr lang="ru-RU" sz="1200" baseline="0" dirty="0" smtClean="0"/>
              <a:t>, </a:t>
            </a:r>
            <a:r>
              <a:rPr lang="ru-RU" sz="1200" baseline="0" dirty="0" err="1" smtClean="0"/>
              <a:t>бэктест</a:t>
            </a:r>
            <a:r>
              <a:rPr lang="ru-RU" sz="1200" baseline="0" dirty="0" smtClean="0"/>
              <a:t>, репорты </a:t>
            </a:r>
            <a:r>
              <a:rPr lang="ru-RU" sz="1200" baseline="0" dirty="0" err="1" smtClean="0"/>
              <a:t>итд</a:t>
            </a:r>
            <a:endParaRPr lang="ru-RU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Может быть интегрирована с любой другой АС ба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Легко масштабируется и дорабатывается под нужды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клие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Архитектура</a:t>
            </a:r>
            <a:r>
              <a:rPr lang="en-US" sz="1200" baseline="0" dirty="0" smtClean="0"/>
              <a:t>? </a:t>
            </a:r>
            <a:r>
              <a:rPr lang="ru-RU" sz="1200" baseline="0" dirty="0" smtClean="0"/>
              <a:t>Как пользоваться</a:t>
            </a:r>
            <a:r>
              <a:rPr lang="en-US" sz="1200" baseline="0" dirty="0" smtClean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Запрос-Ответ. Есть богатый </a:t>
            </a:r>
            <a:r>
              <a:rPr lang="en-US" sz="1200" baseline="0" dirty="0" smtClean="0"/>
              <a:t>API </a:t>
            </a:r>
            <a:r>
              <a:rPr lang="ru-RU" sz="1200" baseline="0" dirty="0" smtClean="0"/>
              <a:t>как для людей так и для </a:t>
            </a:r>
            <a:r>
              <a:rPr lang="en-US" sz="1200" baseline="0" dirty="0" smtClean="0"/>
              <a:t>A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Платформа содержит собственные вычислительные мощности и систему распределения вычислений – клиенту не нужно об этом думать.</a:t>
            </a:r>
            <a:endParaRPr lang="en-US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В платформу оперативно подгружаются официальные рыночные данные</a:t>
            </a:r>
            <a:r>
              <a:rPr lang="en-US" sz="1200" baseline="0" dirty="0" smtClean="0"/>
              <a:t>: </a:t>
            </a:r>
            <a:r>
              <a:rPr lang="ru-RU" sz="1200" baseline="0" dirty="0" smtClean="0"/>
              <a:t>у клиента есть </a:t>
            </a:r>
            <a:r>
              <a:rPr lang="ru-RU" sz="1200" baseline="0" dirty="0" err="1" smtClean="0"/>
              <a:t>есть</a:t>
            </a:r>
            <a:r>
              <a:rPr lang="ru-RU" sz="1200" baseline="0" dirty="0" smtClean="0"/>
              <a:t> возможность использования модифицированных официальных данных или альтернативных данных</a:t>
            </a:r>
            <a:endParaRPr lang="en-US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хнически легко интегрируется с АС банка. В данный момент реализован протокол оптимизированный под скорость взаимодействия. Позволяет интегрироваться с АС находящимися в том же сетевом сегменте и не использующих информацию К1/К2. В планах на следующий год реализация текстового протокола для снятия этих ограничений.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зор текущих пользователей PS и возможных проектов в ближайшем будущем. CVA. Murex.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UI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лектронные каналы: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ma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d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s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7M (2023). Обсуждение: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аркетмейкинг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электронных каналах. Обсуждение: расширение использования в Риск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Какие продукты поддерживает </a:t>
            </a:r>
            <a:r>
              <a:rPr lang="en-US" sz="1200" baseline="0" dirty="0" smtClean="0"/>
              <a:t>PS?</a:t>
            </a:r>
            <a:endParaRPr lang="ru-RU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Практически любые. </a:t>
            </a:r>
            <a:r>
              <a:rPr lang="ru-RU" sz="1200" dirty="0" smtClean="0"/>
              <a:t>Вычислительное ядро содержит «конструктор» продуктов и позволяет в короткие сроки добавить поддержку практически любого ПФ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Ядро реализует принцип «фабрики моделей» и автоматически конструирует и калибрует модель под нужды обрабатываемого ПФИ или портфеля</a:t>
            </a:r>
            <a:r>
              <a:rPr lang="ru-RU" sz="1200" baseline="0" dirty="0" smtClean="0"/>
              <a:t> ПФИ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Ядро содержит универсальный </a:t>
            </a:r>
            <a:r>
              <a:rPr lang="ru-RU" sz="1200" dirty="0" err="1" smtClean="0"/>
              <a:t>симуляционный</a:t>
            </a:r>
            <a:r>
              <a:rPr lang="ru-RU" sz="1200" dirty="0" smtClean="0"/>
              <a:t> векторизованный движок класса </a:t>
            </a:r>
            <a:r>
              <a:rPr lang="en-US" sz="1200" dirty="0" smtClean="0"/>
              <a:t>American Monte-Carlo </a:t>
            </a:r>
            <a:r>
              <a:rPr lang="ru-RU" sz="1200" dirty="0" smtClean="0"/>
              <a:t>с поддержкой авто дифференцирования что позволяет работать с</a:t>
            </a:r>
            <a:r>
              <a:rPr lang="ru-RU" sz="1200" baseline="0" dirty="0" smtClean="0"/>
              <a:t> ПФИ и портфелями ПФИ практически любой сложности включая </a:t>
            </a:r>
            <a:r>
              <a:rPr lang="en-US" sz="1200" baseline="0" dirty="0" smtClean="0"/>
              <a:t>callable/puttable</a:t>
            </a:r>
            <a:r>
              <a:rPr lang="ru-RU" sz="1200" baseline="0" dirty="0" smtClean="0"/>
              <a:t> структур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Почему </a:t>
            </a:r>
            <a:r>
              <a:rPr lang="en-US" sz="1200" baseline="0" dirty="0" smtClean="0"/>
              <a:t>PS </a:t>
            </a:r>
            <a:r>
              <a:rPr lang="ru-RU" sz="1200" baseline="0" dirty="0" smtClean="0"/>
              <a:t>работает в 50 раз быстрее </a:t>
            </a:r>
            <a:r>
              <a:rPr lang="en-US" sz="1200" baseline="0" dirty="0" err="1" smtClean="0"/>
              <a:t>Numerix</a:t>
            </a:r>
            <a:r>
              <a:rPr lang="en-US" sz="1200" baseline="0" dirty="0" smtClean="0"/>
              <a:t> CVA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Мы используем современные технологии как в вычислительном ядре так и в облачной архитектуре сервис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В ядре большинство математических операций векторизованы (элементарная единица расчета не одно число а вектор) такой формат работает кратно быстрее на современных процессор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Для расчета риска мы используем технологию </a:t>
            </a:r>
            <a:r>
              <a:rPr lang="ru-RU" sz="1200" baseline="0" dirty="0" err="1" smtClean="0"/>
              <a:t>автодифференцирования</a:t>
            </a:r>
            <a:r>
              <a:rPr lang="ru-RU" sz="1200" baseline="0" dirty="0" smtClean="0"/>
              <a:t> которая позволяет считать риск без </a:t>
            </a:r>
            <a:r>
              <a:rPr lang="ru-RU" sz="1200" baseline="0" dirty="0" err="1" smtClean="0"/>
              <a:t>бампов</a:t>
            </a:r>
            <a:r>
              <a:rPr lang="ru-RU" sz="1200" baseline="0" dirty="0" smtClean="0"/>
              <a:t>, кратно быстрее классических систем. Технология пришла из мира </a:t>
            </a:r>
            <a:r>
              <a:rPr lang="en-US" sz="1200" baseline="0" dirty="0" err="1" smtClean="0"/>
              <a:t>MachineLearning</a:t>
            </a:r>
            <a:r>
              <a:rPr lang="en-US" sz="1200" baseline="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На уровне облака используется современная система распределения вычислений вдохновленная технологией </a:t>
            </a:r>
            <a:r>
              <a:rPr lang="en-US" sz="1200" baseline="0" dirty="0" err="1" smtClean="0"/>
              <a:t>blockchain</a:t>
            </a:r>
            <a:r>
              <a:rPr lang="en-US" sz="1200" baseline="0" dirty="0" smtClean="0"/>
              <a:t>. </a:t>
            </a:r>
            <a:r>
              <a:rPr lang="ru-RU" sz="1200" baseline="0" dirty="0" smtClean="0"/>
              <a:t>Это позволяет уверенно работать под большими нагрузкам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Платформа </a:t>
            </a:r>
            <a:r>
              <a:rPr lang="en-US" sz="1200" baseline="0" dirty="0" smtClean="0"/>
              <a:t>Pricing Service </a:t>
            </a:r>
            <a:r>
              <a:rPr lang="ru-RU" sz="1200" baseline="0" dirty="0" smtClean="0"/>
              <a:t>поддерживается объединённой командой ДГР и ДИТ. Сейчас команда имеет опыт и экспертизу (но не всегда ресурсы) для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масштабирования и доработок платформы под нужды наших текущих или новых внутренних клиента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90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Бизнес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инвест</a:t>
            </a:r>
            <a:r>
              <a:rPr lang="ru-RU" baseline="0" dirty="0" smtClean="0"/>
              <a:t> банкинга заключается в финансовой инженерии: а именно создание нетривиальных контрактов, из простых. А именно, например, когда банк продает какой </a:t>
            </a:r>
            <a:r>
              <a:rPr lang="ru-RU" baseline="0" dirty="0" err="1" smtClean="0"/>
              <a:t>дериватив</a:t>
            </a:r>
            <a:r>
              <a:rPr lang="ru-RU" baseline="0" dirty="0" smtClean="0"/>
              <a:t>, скажем, опцион на рубль-доллар, но на рынке нет аналогичных инструментов или они неликвидные, то банк хеджируется, реплицируя опцион с помощью линейных контрактов. </a:t>
            </a:r>
          </a:p>
          <a:p>
            <a:endParaRPr lang="ru-RU" baseline="0" dirty="0" smtClean="0"/>
          </a:p>
          <a:p>
            <a:r>
              <a:rPr lang="ru-RU" baseline="0" dirty="0" err="1" smtClean="0"/>
              <a:t>Прайсинг</a:t>
            </a:r>
            <a:r>
              <a:rPr lang="ru-RU" baseline="0" dirty="0" smtClean="0"/>
              <a:t> фактически и подразумевает поиск такой репликации сложных контрактов через простые. Имея такую репликацию и цены простых торгуемых контрактов определяется стоимость клиентских сделок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Можно проинтерпретировать в этих терминах стандартную теорию оценки стоимости </a:t>
            </a:r>
            <a:r>
              <a:rPr lang="ru-RU" baseline="0" dirty="0" err="1" smtClean="0"/>
              <a:t>деривативов</a:t>
            </a:r>
            <a:r>
              <a:rPr lang="ru-RU" baseline="0" dirty="0" smtClean="0"/>
              <a:t>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Стоимость любого контракта равна мат ожиданию дисконтированных денежных потоков, то есть потоков выраженных в текущей валюте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Представление контракта в виде формализованного денежного потока фактически есть разложение или репликация контракта на фундаментальные инструменты, цены которых мы можем определить из цен на торгуемые инструменты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Тогда риск-нейтральная мера это просто цены этих атомарных инструментов, а мат ожидание в риск-нейтральной мере это взвешенная по экспозиции сумма их цен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ефолтные события изменяют денежные потоки, а значит влияют на </a:t>
            </a:r>
            <a:r>
              <a:rPr lang="ru-RU" baseline="0" dirty="0" err="1" smtClean="0"/>
              <a:t>прайсинг</a:t>
            </a:r>
            <a:r>
              <a:rPr lang="ru-RU" baseline="0" dirty="0" smtClean="0"/>
              <a:t>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Можно разложить реальный поток по сделке на контрактный поток, то есть тот поток который закреплен в контракте и произошел бы при отсутствие дефолтов и поправочные потоки которые возникают из-за дефолтов. А именно в случае дефолта контрагента, банк не дополучит положительную часть потока, а в случае дефолта банка, контрагент недополучит отрицательную часть потока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В итоге получаем разложение стоимости </a:t>
            </a:r>
            <a:r>
              <a:rPr lang="ru-RU" baseline="0" dirty="0" err="1" smtClean="0"/>
              <a:t>дериватива</a:t>
            </a:r>
            <a:r>
              <a:rPr lang="ru-RU" baseline="0" dirty="0" smtClean="0"/>
              <a:t> на контрактную, свободную от кредитного риска стоимость и поправки </a:t>
            </a:r>
            <a:r>
              <a:rPr lang="en-US" baseline="0" dirty="0" smtClean="0"/>
              <a:t>CVA </a:t>
            </a:r>
            <a:r>
              <a:rPr lang="ru-RU" baseline="0" dirty="0" smtClean="0"/>
              <a:t>и </a:t>
            </a:r>
            <a:r>
              <a:rPr lang="en-US" baseline="0" dirty="0" smtClean="0"/>
              <a:t>DVA.</a:t>
            </a:r>
          </a:p>
          <a:p>
            <a:endParaRPr lang="en-US" baseline="0" dirty="0" smtClean="0"/>
          </a:p>
          <a:p>
            <a:r>
              <a:rPr lang="ru-RU" baseline="0" dirty="0" smtClean="0"/>
              <a:t>Поправка </a:t>
            </a:r>
            <a:r>
              <a:rPr lang="en-US" baseline="0" dirty="0" smtClean="0"/>
              <a:t>DVA?</a:t>
            </a:r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r>
              <a:rPr lang="ru-RU" baseline="0" dirty="0" smtClean="0"/>
              <a:t> </a:t>
            </a:r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r>
              <a:rPr lang="ru-RU" baseline="0" dirty="0" smtClean="0"/>
              <a:t> </a:t>
            </a:r>
          </a:p>
          <a:p>
            <a:endParaRPr lang="ru-RU" baseline="0" dirty="0" smtClean="0"/>
          </a:p>
          <a:p>
            <a:endParaRPr lang="ru-RU" baseline="0" dirty="0" smtClean="0"/>
          </a:p>
          <a:p>
            <a:r>
              <a:rPr lang="ru-RU" baseline="0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457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Хотим</a:t>
            </a:r>
            <a:r>
              <a:rPr lang="ru-RU" baseline="0" dirty="0" smtClean="0"/>
              <a:t> рассказать о методе Американского </a:t>
            </a:r>
            <a:r>
              <a:rPr lang="ru-RU" baseline="0" dirty="0" err="1" smtClean="0"/>
              <a:t>монте-карло</a:t>
            </a:r>
            <a:r>
              <a:rPr lang="ru-RU" baseline="0" dirty="0" smtClean="0"/>
              <a:t>. Но для начала, несколько слов об эволюции различных </a:t>
            </a:r>
            <a:r>
              <a:rPr lang="ru-RU" baseline="0" dirty="0" err="1" smtClean="0"/>
              <a:t>пейоффов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соотвествующих</a:t>
            </a:r>
            <a:r>
              <a:rPr lang="ru-RU" baseline="0" dirty="0" smtClean="0"/>
              <a:t> моделей </a:t>
            </a:r>
            <a:r>
              <a:rPr lang="ru-RU" baseline="0" dirty="0" err="1" smtClean="0"/>
              <a:t>прайсинга</a:t>
            </a:r>
            <a:r>
              <a:rPr lang="ru-RU" baseline="0" dirty="0" smtClean="0"/>
              <a:t>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История начинается с хорошо известной формулы БШ для обычного европейского опциона (который научились оценивать в начале 20 века, но подходы к хеджированию и репликации его через линейные </a:t>
            </a:r>
            <a:r>
              <a:rPr lang="ru-RU" baseline="0" dirty="0" err="1" smtClean="0"/>
              <a:t>инсрументы</a:t>
            </a:r>
            <a:r>
              <a:rPr lang="ru-RU" baseline="0" dirty="0" smtClean="0"/>
              <a:t> открыли позже)</a:t>
            </a:r>
          </a:p>
          <a:p>
            <a:endParaRPr lang="ru-RU" baseline="0" dirty="0" smtClean="0"/>
          </a:p>
          <a:p>
            <a:r>
              <a:rPr lang="ru-RU" baseline="0" dirty="0" smtClean="0"/>
              <a:t>Затем по сложности идут более экзотические опционы такие как Азиатский и Американский. Оба в общем случае не допускающие аналитических формул. Первый по причине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, Второй по  причине раннего исполнения.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хорошо применяется метод МК. Для учета </a:t>
            </a:r>
            <a:r>
              <a:rPr lang="ru-RU" baseline="0" dirty="0" err="1" smtClean="0"/>
              <a:t>ранего</a:t>
            </a:r>
            <a:r>
              <a:rPr lang="ru-RU" baseline="0" dirty="0" smtClean="0"/>
              <a:t> исполнения, наоборот стандартный метод МК не работает, а работают методы основанные на численном интегрирование уравнения БШ</a:t>
            </a:r>
            <a:r>
              <a:rPr lang="en-US" baseline="0" dirty="0" smtClean="0"/>
              <a:t>/</a:t>
            </a:r>
            <a:r>
              <a:rPr lang="ru-RU" baseline="0" dirty="0" smtClean="0"/>
              <a:t>ФК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альше встал вопрос как </a:t>
            </a:r>
            <a:r>
              <a:rPr lang="ru-RU" baseline="0" dirty="0" err="1" smtClean="0"/>
              <a:t>прайсить</a:t>
            </a:r>
            <a:r>
              <a:rPr lang="ru-RU" baseline="0" dirty="0" smtClean="0"/>
              <a:t> совместно и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и опционы с </a:t>
            </a:r>
            <a:r>
              <a:rPr lang="ru-RU" baseline="0" dirty="0" err="1" smtClean="0"/>
              <a:t>ри</a:t>
            </a:r>
            <a:r>
              <a:rPr lang="ru-RU" baseline="0" dirty="0" smtClean="0"/>
              <a:t>. Проблему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по идеи можно обойти, добавляя новые риск-факторы, запоминающие </a:t>
            </a:r>
            <a:r>
              <a:rPr lang="ru-RU" baseline="0" dirty="0" err="1" smtClean="0"/>
              <a:t>необходисые</a:t>
            </a:r>
            <a:r>
              <a:rPr lang="ru-RU" baseline="0" dirty="0" smtClean="0"/>
              <a:t> характеристики траектории. Однако это приводит к системам большой размерности и не гибкости самой модели </a:t>
            </a:r>
            <a:r>
              <a:rPr lang="ru-RU" baseline="0" dirty="0" err="1" smtClean="0"/>
              <a:t>прайсинга</a:t>
            </a:r>
            <a:r>
              <a:rPr lang="ru-RU" baseline="0" dirty="0" smtClean="0"/>
              <a:t>, если например </a:t>
            </a:r>
            <a:r>
              <a:rPr lang="ru-RU" baseline="0" dirty="0" err="1" smtClean="0"/>
              <a:t>прайсить</a:t>
            </a:r>
            <a:r>
              <a:rPr lang="ru-RU" baseline="0" dirty="0" smtClean="0"/>
              <a:t> на деревьях. Ответом стал метод американского </a:t>
            </a:r>
            <a:r>
              <a:rPr lang="ru-RU" baseline="0" dirty="0" err="1" smtClean="0"/>
              <a:t>монте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арло</a:t>
            </a:r>
            <a:r>
              <a:rPr lang="ru-RU" baseline="0" dirty="0" smtClean="0"/>
              <a:t>, который сейчас является лучшей практикой для оценки стоимост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Ну и на фронте, это применения методов </a:t>
            </a:r>
            <a:r>
              <a:rPr lang="en-US" baseline="0" dirty="0" smtClean="0"/>
              <a:t>ML</a:t>
            </a:r>
            <a:r>
              <a:rPr lang="ru-RU" baseline="0" dirty="0" smtClean="0"/>
              <a:t> к </a:t>
            </a:r>
            <a:r>
              <a:rPr lang="ru-RU" baseline="0" dirty="0" err="1" smtClean="0"/>
              <a:t>прайсингу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деривативов</a:t>
            </a:r>
            <a:r>
              <a:rPr lang="ru-RU" baseline="0" dirty="0" smtClean="0"/>
              <a:t>. В том же методе </a:t>
            </a:r>
            <a:r>
              <a:rPr lang="en-US" baseline="0" dirty="0" smtClean="0"/>
              <a:t>AMC </a:t>
            </a:r>
            <a:r>
              <a:rPr lang="ru-RU" baseline="0" dirty="0" smtClean="0"/>
              <a:t>существует деятельность по улучшению встроенной регрессии с помощью, например, </a:t>
            </a:r>
            <a:r>
              <a:rPr lang="ru-RU" baseline="0" dirty="0" err="1" smtClean="0"/>
              <a:t>нс</a:t>
            </a:r>
            <a:r>
              <a:rPr lang="ru-RU" baseline="0" dirty="0" smtClean="0"/>
              <a:t>. Однако, более интересное и принципиально новое направление, это учет транзакционных издержек при оценки </a:t>
            </a:r>
            <a:r>
              <a:rPr lang="ru-RU" baseline="0" dirty="0" err="1" smtClean="0"/>
              <a:t>деривативов</a:t>
            </a:r>
            <a:r>
              <a:rPr lang="ru-RU" baseline="0" dirty="0" smtClean="0"/>
              <a:t> и в целом </a:t>
            </a:r>
            <a:r>
              <a:rPr lang="ru-RU" baseline="0" dirty="0" err="1" smtClean="0"/>
              <a:t>трейдинге</a:t>
            </a:r>
            <a:r>
              <a:rPr lang="ru-RU" baseline="0" dirty="0" smtClean="0"/>
              <a:t>. Под </a:t>
            </a:r>
            <a:r>
              <a:rPr lang="ru-RU" baseline="0" dirty="0" err="1" smtClean="0"/>
              <a:t>ти</a:t>
            </a:r>
            <a:r>
              <a:rPr lang="ru-RU" baseline="0" dirty="0" smtClean="0"/>
              <a:t> понимается например как классические </a:t>
            </a:r>
            <a:r>
              <a:rPr lang="ru-RU" baseline="0" dirty="0" err="1" smtClean="0"/>
              <a:t>коммиссии</a:t>
            </a:r>
            <a:r>
              <a:rPr lang="ru-RU" baseline="0" dirty="0" smtClean="0"/>
              <a:t> биржи и </a:t>
            </a:r>
            <a:r>
              <a:rPr lang="ru-RU" baseline="0" dirty="0" err="1" smtClean="0"/>
              <a:t>бид-аск</a:t>
            </a:r>
            <a:r>
              <a:rPr lang="ru-RU" baseline="0" dirty="0" smtClean="0"/>
              <a:t> спреды, но более интересные это прайс-</a:t>
            </a:r>
            <a:r>
              <a:rPr lang="ru-RU" baseline="0" dirty="0" err="1" smtClean="0"/>
              <a:t>импакт</a:t>
            </a:r>
            <a:r>
              <a:rPr lang="ru-RU" baseline="0" dirty="0" smtClean="0"/>
              <a:t>, когда при заключении сделок на рынках, агент влияет на сам рынок и его цену. Здесь возникает задача оптимальное управления агентом, которые могут решаться методам </a:t>
            </a:r>
            <a:r>
              <a:rPr lang="en-US" baseline="0" dirty="0" smtClean="0"/>
              <a:t>RL.</a:t>
            </a:r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640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еходим</a:t>
            </a:r>
            <a:r>
              <a:rPr lang="ru-RU" baseline="0" dirty="0" smtClean="0"/>
              <a:t> к методу АМК. Сначала несколько слов почему </a:t>
            </a:r>
            <a:r>
              <a:rPr lang="ru-RU" baseline="0" dirty="0" err="1" smtClean="0"/>
              <a:t>стандарный</a:t>
            </a:r>
            <a:r>
              <a:rPr lang="ru-RU" baseline="0" dirty="0" smtClean="0"/>
              <a:t> метод МК не работает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Стоимость </a:t>
            </a:r>
            <a:r>
              <a:rPr lang="ru-RU" baseline="0" dirty="0" err="1" smtClean="0"/>
              <a:t>дериватива</a:t>
            </a:r>
            <a:r>
              <a:rPr lang="ru-RU" baseline="0" dirty="0" smtClean="0"/>
              <a:t> …</a:t>
            </a:r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717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Непосредствено</a:t>
            </a:r>
            <a:r>
              <a:rPr lang="ru-RU" baseline="0" dirty="0" smtClean="0"/>
              <a:t> метод АМК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Идея простая, приближенно оценим даты экспирации. Получим опцион с </a:t>
            </a:r>
            <a:r>
              <a:rPr lang="ru-RU" baseline="0" dirty="0" err="1" smtClean="0"/>
              <a:t>дереминированными</a:t>
            </a:r>
            <a:r>
              <a:rPr lang="ru-RU" baseline="0" dirty="0" smtClean="0"/>
              <a:t> датами экспирации, к которому уже можно применять стандартный МК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Как оцениваются оптимальные даты экспирации?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ля простоты рассмотрим пут </a:t>
            </a:r>
            <a:r>
              <a:rPr lang="ru-RU" baseline="0" dirty="0" err="1" smtClean="0"/>
              <a:t>онцион</a:t>
            </a:r>
            <a:r>
              <a:rPr lang="ru-RU" baseline="0" dirty="0" smtClean="0"/>
              <a:t>. Возьмем дискретные слои по времени. </a:t>
            </a:r>
            <a:r>
              <a:rPr lang="ru-RU" baseline="0" dirty="0" err="1" smtClean="0"/>
              <a:t>Просимулируем</a:t>
            </a:r>
            <a:r>
              <a:rPr lang="ru-RU" baseline="0" dirty="0" smtClean="0"/>
              <a:t> рынок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Знаем </a:t>
            </a:r>
            <a:r>
              <a:rPr lang="ru-RU" baseline="0" dirty="0" err="1" smtClean="0"/>
              <a:t>пейофф</a:t>
            </a:r>
            <a:r>
              <a:rPr lang="ru-RU" baseline="0" dirty="0" smtClean="0"/>
              <a:t> в момент окончания контракта. </a:t>
            </a:r>
            <a:r>
              <a:rPr lang="ru-RU" baseline="0" dirty="0" err="1" smtClean="0"/>
              <a:t>Значем</a:t>
            </a:r>
            <a:r>
              <a:rPr lang="ru-RU" baseline="0" dirty="0" smtClean="0"/>
              <a:t> стоимость </a:t>
            </a:r>
            <a:r>
              <a:rPr lang="ru-RU" baseline="0" dirty="0" err="1" smtClean="0"/>
              <a:t>дериватива</a:t>
            </a:r>
            <a:r>
              <a:rPr lang="ru-RU" baseline="0" dirty="0" smtClean="0"/>
              <a:t> на каждой траектории в последний момент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Сдвинемся теперь на один слой назад. Здесь </a:t>
            </a:r>
            <a:r>
              <a:rPr lang="en-US" baseline="0" dirty="0" smtClean="0"/>
              <a:t>V </a:t>
            </a:r>
            <a:r>
              <a:rPr lang="ru-RU" baseline="0" dirty="0" smtClean="0"/>
              <a:t>не знаем. Держатель опциона будет принимать решения на основе сравнения </a:t>
            </a:r>
            <a:r>
              <a:rPr lang="ru-RU" baseline="0" dirty="0" err="1" smtClean="0"/>
              <a:t>пейоффа</a:t>
            </a:r>
            <a:r>
              <a:rPr lang="ru-RU" baseline="0" dirty="0" smtClean="0"/>
              <a:t> по </a:t>
            </a:r>
            <a:r>
              <a:rPr lang="ru-RU" baseline="0" dirty="0" err="1" smtClean="0"/>
              <a:t>путу</a:t>
            </a:r>
            <a:r>
              <a:rPr lang="ru-RU" baseline="0" dirty="0" smtClean="0"/>
              <a:t> </a:t>
            </a:r>
            <a:r>
              <a:rPr lang="en-US" baseline="0" dirty="0" smtClean="0"/>
              <a:t> </a:t>
            </a:r>
            <a:r>
              <a:rPr lang="ru-RU" baseline="0" dirty="0" smtClean="0"/>
              <a:t>и стоимости </a:t>
            </a:r>
            <a:r>
              <a:rPr lang="ru-RU" baseline="0" dirty="0" err="1" smtClean="0"/>
              <a:t>дериватива</a:t>
            </a:r>
            <a:r>
              <a:rPr lang="ru-RU" baseline="0" dirty="0" smtClean="0"/>
              <a:t> при условии если он не </a:t>
            </a:r>
            <a:r>
              <a:rPr lang="ru-RU" baseline="0" dirty="0" err="1" smtClean="0"/>
              <a:t>эксперирует</a:t>
            </a:r>
            <a:r>
              <a:rPr lang="ru-RU" baseline="0" dirty="0" smtClean="0"/>
              <a:t> его в этот момент. Попробуем его оценить. Для наглядности приведено </a:t>
            </a:r>
            <a:r>
              <a:rPr lang="ru-RU" baseline="0" dirty="0" err="1" smtClean="0"/>
              <a:t>пунктировной</a:t>
            </a:r>
            <a:r>
              <a:rPr lang="ru-RU" baseline="0" dirty="0" smtClean="0"/>
              <a:t> линией его истинное значение.  </a:t>
            </a:r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835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0713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52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4" Type="http://schemas.openxmlformats.org/officeDocument/2006/relationships/slideMaster" Target="../slideMasters/slideMaster1.xml"/><Relationship Id="rId9" Type="http://schemas.openxmlformats.org/officeDocument/2006/relationships/image" Target="http://77A1012EB7C4058D7857A2C27F19AA38.dms.sberbank.ru/77A1012EB7C4058D7857A2C27F19AA38-E15EB427CD4712C851F7D03AB39A70C4-98DF33912A645DED11E060C8F1BF4ACC/1.png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9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24" name="Рисунок 23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Рисунок 24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Рисунок 25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Рисунок 26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Рисунок 27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7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1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pic>
        <p:nvPicPr>
          <p:cNvPr id="9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0515600" cy="78483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5" name="Рисунок 4" descr="http://77A1012EB7C4058D7857A2C27F19AA38.dms.sberbank.ru/77A1012EB7C4058D7857A2C27F19AA38-E15EB427CD4712C851F7D03AB39A70C4-98DF33912A645DED11E060C8F1BF4ACC/1.png"/>
          <p:cNvPicPr>
            <a:picLocks/>
          </p:cNvPicPr>
          <p:nvPr userDrawn="1"/>
        </p:nvPicPr>
        <p:blipFill>
          <a:blip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Рисунок 9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276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53" name="think-cell Slide" r:id="rId7" imgW="384" imgH="385" progId="TCLayout.ActiveDocument.1">
                  <p:embed/>
                </p:oleObj>
              </mc:Choice>
              <mc:Fallback>
                <p:oleObj name="think-cell Slide" r:id="rId7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торой уровень</a:t>
            </a:r>
          </a:p>
          <a:p>
            <a:pPr marL="361950" lvl="1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B Sans Display" panose="020B0604020202020204" charset="0"/>
              <a:buChar char="-"/>
            </a:pPr>
            <a:r>
              <a:rPr lang="ru-RU" dirty="0"/>
              <a:t>Третий уровень</a:t>
            </a:r>
            <a:endParaRPr lang="en-US" dirty="0"/>
          </a:p>
          <a:p>
            <a:pPr marL="542925" lvl="2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SB Sans Display" panose="020B0604020202020204" charset="0"/>
              <a:buChar char="○"/>
            </a:pPr>
            <a:r>
              <a:rPr lang="ru-RU" dirty="0"/>
              <a:t>Четвертый уровень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1129963" y="6485821"/>
            <a:ext cx="619125" cy="1454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DCCA221B-3CF6-459B-A170-5355739D6EE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309309" y="0"/>
            <a:ext cx="238287" cy="3384550"/>
            <a:chOff x="-399495" y="0"/>
            <a:chExt cx="328474" cy="4665536"/>
          </a:xfrm>
        </p:grpSpPr>
        <p:sp>
          <p:nvSpPr>
            <p:cNvPr id="10" name="Rectangle 9"/>
            <p:cNvSpPr/>
            <p:nvPr/>
          </p:nvSpPr>
          <p:spPr>
            <a:xfrm>
              <a:off x="-399495" y="0"/>
              <a:ext cx="328474" cy="3284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-399495" y="381816"/>
              <a:ext cx="328474" cy="328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9495" y="2290896"/>
              <a:ext cx="328474" cy="32847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-399495" y="1145448"/>
              <a:ext cx="328474" cy="3284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399495" y="763632"/>
              <a:ext cx="328474" cy="32847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9495" y="2672712"/>
              <a:ext cx="328474" cy="328474"/>
            </a:xfrm>
            <a:prstGeom prst="rect">
              <a:avLst/>
            </a:prstGeom>
            <a:solidFill>
              <a:srgbClr val="D6D4D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-399495" y="3054528"/>
              <a:ext cx="328474" cy="328474"/>
            </a:xfrm>
            <a:prstGeom prst="rect">
              <a:avLst/>
            </a:prstGeom>
            <a:solidFill>
              <a:srgbClr val="858585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-399495" y="1909080"/>
              <a:ext cx="328474" cy="328474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-399495" y="1527264"/>
              <a:ext cx="328474" cy="32847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399495" y="3436344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-399495" y="3489686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-399495" y="3916413"/>
              <a:ext cx="328474" cy="328474"/>
            </a:xfrm>
            <a:prstGeom prst="rect">
              <a:avLst/>
            </a:prstGeom>
            <a:solidFill>
              <a:srgbClr val="465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700" dirty="0"/>
                <a:t>text</a:t>
              </a:r>
              <a:endParaRPr lang="ru-RU" sz="7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399495" y="4337062"/>
              <a:ext cx="328474" cy="328474"/>
            </a:xfrm>
            <a:prstGeom prst="rect">
              <a:avLst/>
            </a:prstGeom>
            <a:gradFill>
              <a:gsLst>
                <a:gs pos="80000">
                  <a:srgbClr val="FBEF00"/>
                </a:gs>
                <a:gs pos="41000">
                  <a:srgbClr val="00FFC8"/>
                </a:gs>
                <a:gs pos="15000">
                  <a:schemeClr val="accent3"/>
                </a:gs>
                <a:gs pos="0">
                  <a:schemeClr val="accent3"/>
                </a:gs>
                <a:gs pos="100000">
                  <a:schemeClr val="accent4"/>
                </a:gs>
              </a:gsLst>
              <a:lin ang="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18155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000" kern="1200" dirty="0">
          <a:solidFill>
            <a:srgbClr val="333F48"/>
          </a:solidFill>
          <a:effectLst/>
          <a:latin typeface="SB Sans Display Semibold" panose="020B0703040504020204" pitchFamily="34" charset="0"/>
          <a:ea typeface="+mn-ea"/>
          <a:cs typeface="SB Sans Display Semibold" panose="020B0703040504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85750" algn="l" defTabSz="914400" rtl="0" eaLnBrk="1" latinLnBrk="0" hangingPunct="1">
        <a:lnSpc>
          <a:spcPct val="90000"/>
        </a:lnSpc>
        <a:spcBef>
          <a:spcPts val="500"/>
        </a:spcBef>
        <a:buFont typeface="SB Sans Display" panose="020B0604020202020204" charset="0"/>
        <a:buChar char="-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8575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SB Sans Display" panose="020B0604020202020204" charset="0"/>
        <a:buChar char="○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79">
          <p15:clr>
            <a:srgbClr val="F26B43"/>
          </p15:clr>
        </p15:guide>
        <p15:guide id="3" pos="3840">
          <p15:clr>
            <a:srgbClr val="F26B43"/>
          </p15:clr>
        </p15:guide>
        <p15:guide id="4" pos="74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7" Type="http://schemas.openxmlformats.org/officeDocument/2006/relationships/image" Target="../media/image260.png"/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0.png"/><Relationship Id="rId5" Type="http://schemas.openxmlformats.org/officeDocument/2006/relationships/image" Target="../media/image230.png"/><Relationship Id="rId4" Type="http://schemas.openxmlformats.org/officeDocument/2006/relationships/image" Target="../media/image2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" Type="http://schemas.openxmlformats.org/officeDocument/2006/relationships/image" Target="NULL"/><Relationship Id="rId21" Type="http://schemas.openxmlformats.org/officeDocument/2006/relationships/image" Target="../media/image14.png"/><Relationship Id="rId7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NULL"/><Relationship Id="rId2" Type="http://schemas.openxmlformats.org/officeDocument/2006/relationships/notesSlide" Target="../notesSlides/notesSlide6.xml"/><Relationship Id="rId16" Type="http://schemas.openxmlformats.org/officeDocument/2006/relationships/image" Target="NULL"/><Relationship Id="rId20" Type="http://schemas.openxmlformats.org/officeDocument/2006/relationships/image" Target="NUL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5" Type="http://schemas.openxmlformats.org/officeDocument/2006/relationships/image" Target="../media/image13.png"/><Relationship Id="rId10" Type="http://schemas.openxmlformats.org/officeDocument/2006/relationships/image" Target="NULL"/><Relationship Id="rId19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1074832" cy="840230"/>
          </a:xfrm>
        </p:spPr>
        <p:txBody>
          <a:bodyPr/>
          <a:lstStyle/>
          <a:p>
            <a:pPr algn="l">
              <a:spcAft>
                <a:spcPts val="1800"/>
              </a:spcAft>
            </a:pPr>
            <a:r>
              <a:rPr lang="en-US" sz="5400" dirty="0" smtClean="0"/>
              <a:t>AMC &amp; AAD</a:t>
            </a:r>
            <a:endParaRPr lang="ru-RU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442912" y="4169664"/>
            <a:ext cx="579329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000" dirty="0" smtClean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или</a:t>
            </a:r>
            <a:r>
              <a:rPr lang="en-US" sz="3000" dirty="0" smtClean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 CVA </a:t>
            </a:r>
            <a:r>
              <a:rPr lang="ru-RU" sz="3000" dirty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за 15 </a:t>
            </a:r>
            <a:r>
              <a:rPr lang="ru-RU" sz="3000" dirty="0" smtClean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минут</a:t>
            </a:r>
            <a:endParaRPr lang="ru-RU" sz="30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726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Differentiation: basics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055259"/>
            <a:ext cx="6391275" cy="183832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2914" y="3004713"/>
            <a:ext cx="4045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андартное правило дифференцирования дает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187" y="2672049"/>
            <a:ext cx="5257800" cy="762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0808" y="3501716"/>
            <a:ext cx="94575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ли добавить так же правила дифференцирования произведения, суммы (и т.п.) функций и правила дифференцирования элементарных функций (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log, sin, cos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т.д.), то получаем задачу с большим количеством действий, которые компьютер теоретически может сделать.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2912" y="5323251"/>
            <a:ext cx="945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тории успеха этого подхода в других проектах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518" y="5076108"/>
            <a:ext cx="1105911" cy="70686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633" y="5219897"/>
            <a:ext cx="1385938" cy="82133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2329" y="4677924"/>
            <a:ext cx="1401000" cy="19979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1927" y="6025171"/>
            <a:ext cx="1532854" cy="2566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14605" y="5219897"/>
            <a:ext cx="702812" cy="71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91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Differentiation: forward propagation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653" y="1344531"/>
            <a:ext cx="7013516" cy="358491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8655" y="3067910"/>
            <a:ext cx="35555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е эффективно для случая 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</a:t>
            </a:r>
            <a:r>
              <a:rPr lang="en-US" sz="1400" baseline="40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n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-&gt; 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</a:t>
            </a:r>
            <a:endParaRPr lang="en-US" sz="14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655" y="2060307"/>
            <a:ext cx="4324350" cy="838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8655" y="1370726"/>
            <a:ext cx="35555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ифференцирование «в прямом порядке», т.е. в том же как вычисляем значение сложной функции.</a:t>
            </a:r>
            <a:endParaRPr lang="en-US" sz="14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: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</a:t>
            </a:r>
            <a:r>
              <a:rPr lang="en-US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Differentiation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126" y="1326817"/>
            <a:ext cx="7154921" cy="417144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0994" y="2286605"/>
            <a:ext cx="397114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s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–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астные производные </a:t>
            </a:r>
            <a:r>
              <a:rPr lang="en-US" sz="1400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 входным или  параметрам или по результатам промежуточных вычислений (</a:t>
            </a:r>
            <a:r>
              <a:rPr lang="en-US" sz="1400" b="1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ли </a:t>
            </a:r>
            <a:r>
              <a:rPr lang="en-US" sz="1400" b="1" i="1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w</a:t>
            </a:r>
            <a:r>
              <a:rPr lang="en-US" sz="1400" b="1" i="1" baseline="-250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машинном обучении: обратное распространение ошибки (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ck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opagation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раф зависимостей можно собрать по программе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матически</a:t>
            </a: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ть техники для того, что бы это можно было делать в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pile time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в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untime</a:t>
            </a:r>
            <a:endParaRPr lang="ru-RU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untime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++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жно делать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ерез перезагрузку операторов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994" y="1362680"/>
            <a:ext cx="4343400" cy="9239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30995" y="1019040"/>
            <a:ext cx="3971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ифференцирование «в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ратном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рядке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».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30993" y="5826631"/>
            <a:ext cx="86929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ение рисков за константное </a:t>
            </a:r>
            <a:r>
              <a:rPr lang="ru-RU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я</a:t>
            </a:r>
            <a:r>
              <a:rPr lang="en-US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ru-RU" sz="1400" b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случае численного дифференцирования время линейно растёт с количеством рисков, которые нужно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считать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022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: Automatic </a:t>
            </a:r>
            <a:r>
              <a:rPr lang="en-US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Differentiation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2913" y="1672467"/>
            <a:ext cx="10784539" cy="4208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600"/>
              </a:spcAft>
              <a:buAutoNum type="arabicParenR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даптация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ых алгоритмов под ограничения подхода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лубокая адаптация кода всех алгоритмов для получения доступа к элементарным математическим операциям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истема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оля над входными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араметрами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истема контроля над потоком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ений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даптация алгоритмов к повышенным требованиям по использованию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амяти и процессора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странение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сех </a:t>
            </a:r>
            <a:r>
              <a:rPr lang="ru-RU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едифференцируемых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ераций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/>
            </a:r>
            <a:b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ужно например сгладить все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igital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барьеры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ерез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ll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pread,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брать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работать отдельно итеративные методы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теграция специализированной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low-level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библиотек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Open source options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ept (and other runtime tape based libraries): general purpose AAD libraries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astAD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and other compile-time expression based libraries): optimized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or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pile time algorithms, not easy to do with constructors like PS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ensorflow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grad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точен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 задачи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achine Learning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mercial options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©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atlogic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AADC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самая передовая технология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NAG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co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++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самая широка применяемая в финансах технология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9664" y="1099458"/>
            <a:ext cx="93695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 </a:t>
            </a: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ужно</a:t>
            </a:r>
            <a:r>
              <a:rPr lang="en-US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бы </a:t>
            </a: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заработало для сложного алгоритма</a:t>
            </a:r>
            <a:r>
              <a:rPr lang="en-US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мышленного масштаба?</a:t>
            </a:r>
          </a:p>
        </p:txBody>
      </p:sp>
    </p:spTree>
    <p:extLst>
      <p:ext uri="{BB962C8B-B14F-4D97-AF65-F5344CB8AC3E}">
        <p14:creationId xmlns:p14="http://schemas.microsoft.com/office/powerpoint/2010/main" val="313259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структор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: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ниверсальный языка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исания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ФИ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2913" y="2286001"/>
            <a:ext cx="4750879" cy="4197095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9298" y="2450871"/>
            <a:ext cx="28145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Характеристики продук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9298" y="2801516"/>
            <a:ext cx="35808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ferences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nderlyings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spots, future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bor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ate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ates: observation dates, expiration dates, payment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ates, 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vents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rriers,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optionality, 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shflows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upons, notional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change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ru-RU" sz="1400" dirty="0" err="1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41263" y="2286001"/>
            <a:ext cx="6254497" cy="4197095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63693" y="2450871"/>
            <a:ext cx="34432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ация в </a:t>
            </a:r>
            <a:r>
              <a:rPr lang="en-US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</a:t>
            </a:r>
            <a:endParaRPr lang="ru-RU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65304" y="2731322"/>
            <a:ext cx="5692712" cy="36163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Get market observables the payoff needs 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1 = spot(“SBER_RUB”, “01/03/2023”)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2 = future(“FUT:USDRUB:1M”, “01/03/2024”)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3 = spot(“RUB_KEY_RATE”, “01/03/2023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”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Check barriers, or other conditions, log probabilities if needed</a:t>
            </a:r>
          </a:p>
          <a:p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og_info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s1&gt;140, “Coupon probability”, “03/03/2023”)</a:t>
            </a: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pay exotic coupons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f s1&gt;140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pay(s1-140, “RUB”, “03/03/2023” , “exotic coupon”) 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lse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pay(s1 / s2, “USD”, “05/3/2024”, “can be paid in different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cys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”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Check “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style” optionality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f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_value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“01/12/2022”) &lt; 0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# want to early terminate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retur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2913" y="981249"/>
            <a:ext cx="1084156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се ПФИ описаны внутри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единообразно, используя специально разработанный язык. Продукт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 языке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получает полноценное «гражданство» в системе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удет работать оценка, риск,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NL explain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Язык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статочно богат для описания ПФИ практически любой сложности, включая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llable/puttable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структуры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ть возможность рекурсивного описания (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вопцион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– опцион на своп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рип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пционов на портфель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овые продукты могут быть выведены в ПРОМ за несколько дней</a:t>
            </a:r>
          </a:p>
        </p:txBody>
      </p:sp>
    </p:spTree>
    <p:extLst>
      <p:ext uri="{BB962C8B-B14F-4D97-AF65-F5344CB8AC3E}">
        <p14:creationId xmlns:p14="http://schemas.microsoft.com/office/powerpoint/2010/main" val="369311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абрика моделей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итаем описание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ФИ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роим модель автоматическ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7073" y="949097"/>
            <a:ext cx="1084156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анализирует описание ПФИ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бирает и калибрует необходимую глобальную модель из элементарных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делей отдельных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акторов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их корреляций. Полученная глобальная модель оптимизирована под конкретный ПФИ в работе для максимальной скорости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ов.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ход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зволяет оперативно добавлять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рабатывать модели отдельных риск факторов.</a:t>
            </a:r>
            <a:b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ак только элементарная модель риск фактора добавлена в фабрику моделей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удет работать всё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ценка, риск,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NL explain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170512"/>
              </p:ext>
            </p:extLst>
          </p:nvPr>
        </p:nvGraphicFramePr>
        <p:xfrm>
          <a:off x="467072" y="2238492"/>
          <a:ext cx="11272039" cy="42650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2850">
                  <a:extLst>
                    <a:ext uri="{9D8B030D-6E8A-4147-A177-3AD203B41FA5}">
                      <a16:colId xmlns:a16="http://schemas.microsoft.com/office/drawing/2014/main" val="3937234794"/>
                    </a:ext>
                  </a:extLst>
                </a:gridCol>
                <a:gridCol w="3021980">
                  <a:extLst>
                    <a:ext uri="{9D8B030D-6E8A-4147-A177-3AD203B41FA5}">
                      <a16:colId xmlns:a16="http://schemas.microsoft.com/office/drawing/2014/main" val="2431632865"/>
                    </a:ext>
                  </a:extLst>
                </a:gridCol>
                <a:gridCol w="2486722">
                  <a:extLst>
                    <a:ext uri="{9D8B030D-6E8A-4147-A177-3AD203B41FA5}">
                      <a16:colId xmlns:a16="http://schemas.microsoft.com/office/drawing/2014/main" val="2300488155"/>
                    </a:ext>
                  </a:extLst>
                </a:gridCol>
                <a:gridCol w="4460487">
                  <a:extLst>
                    <a:ext uri="{9D8B030D-6E8A-4147-A177-3AD203B41FA5}">
                      <a16:colId xmlns:a16="http://schemas.microsoft.com/office/drawing/2014/main" val="1890061233"/>
                    </a:ext>
                  </a:extLst>
                </a:gridCol>
              </a:tblGrid>
              <a:tr h="43048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Тип </a:t>
                      </a:r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риск-фактор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Наименование</a:t>
                      </a:r>
                      <a:r>
                        <a:rPr lang="en-US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элементарной </a:t>
                      </a:r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модели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Калибровочные инструмент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Иллюстративное уравнение динамики</a:t>
                      </a:r>
                      <a:endParaRPr lang="ru-RU" sz="1400" b="1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712660"/>
                  </a:ext>
                </a:extLst>
              </a:tr>
              <a:tr h="37695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I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inear Gaussian 1F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a.k.a.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ull-White)</a:t>
                      </a:r>
                      <a:endParaRPr lang="en-US" sz="1400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 caps/caplet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244253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heyette 1F </a:t>
                      </a:r>
                      <a:r>
                        <a:rPr lang="it-IT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Quasi </a:t>
                      </a:r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Gaussian Model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aps/Caplet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1671873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heyette 2F </a:t>
                      </a:r>
                      <a:r>
                        <a:rPr lang="it-IT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Quasi </a:t>
                      </a:r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Gaussian Model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aps/Caplet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522110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F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Black-Schol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 FX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1044566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ocal Volatilit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FX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240943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Local Volatility Cheyette 1F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modity 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1369897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ocal</a:t>
                      </a:r>
                      <a:r>
                        <a:rPr lang="ru-RU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Stochastic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Volatility Cheyette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2F</a:t>
                      </a:r>
                      <a:endParaRPr lang="en-US" sz="1400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modity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003492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Black-Schol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</a:t>
                      </a:r>
                      <a:r>
                        <a:rPr lang="ru-RU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uity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1503825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Local Volatilit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uity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0435703"/>
                  </a:ext>
                </a:extLst>
              </a:tr>
              <a:tr h="376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redi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eterminist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21146441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8008494" y="2702409"/>
                <a:ext cx="296344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i="1" smtClean="0">
                          <a:latin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08494" y="2702409"/>
                <a:ext cx="2963440" cy="276999"/>
              </a:xfrm>
              <a:prstGeom prst="rect">
                <a:avLst/>
              </a:prstGeom>
              <a:blipFill>
                <a:blip r:embed="rId2"/>
                <a:stretch>
                  <a:fillRect l="-1440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7879517" y="3232548"/>
                <a:ext cx="32213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i="1" smtClean="0">
                          <a:latin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9517" y="3232548"/>
                <a:ext cx="3221395" cy="276999"/>
              </a:xfrm>
              <a:prstGeom prst="rect">
                <a:avLst/>
              </a:prstGeom>
              <a:blipFill>
                <a:blip r:embed="rId3"/>
                <a:stretch>
                  <a:fillRect l="-1326" r="-189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667670" y="3908042"/>
                <a:ext cx="3843488" cy="572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𝐹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p>
                          </m:sSubSup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67670" y="3908042"/>
                <a:ext cx="3843488" cy="57278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7635219" y="4682455"/>
                <a:ext cx="3709990" cy="5866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35219" y="4682455"/>
                <a:ext cx="3709990" cy="58669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8229003" y="5464926"/>
                <a:ext cx="2522422" cy="572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29003" y="5464926"/>
                <a:ext cx="2522422" cy="57278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8743920" y="6174644"/>
                <a:ext cx="149258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𝐷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𝐷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20" y="6174644"/>
                <a:ext cx="1492588" cy="276999"/>
              </a:xfrm>
              <a:prstGeom prst="rect">
                <a:avLst/>
              </a:prstGeom>
              <a:blipFill>
                <a:blip r:embed="rId7"/>
                <a:stretch>
                  <a:fillRect l="-3265" r="-5306" b="-377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0855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жет понадобитьс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7126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имер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CVA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форварда без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SA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 CSA (=Credit Support Annex)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387A9DE-06B8-2C45-AB69-72822ACCC68D}"/>
                  </a:ext>
                </a:extLst>
              </p:cNvPr>
              <p:cNvSpPr txBox="1"/>
              <p:nvPr/>
            </p:nvSpPr>
            <p:spPr>
              <a:xfrm>
                <a:off x="252807" y="1297159"/>
                <a:ext cx="4669706" cy="7152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𝑉𝐴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−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𝐿𝐺𝐷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∗</m:t>
                          </m:r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𝑄</m:t>
                          </m:r>
                        </m:sup>
                      </m:sSup>
                      <m:nary>
                        <m:naryPr>
                          <m:ctrlPr>
                            <a:rPr lang="en-US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(0,</m:t>
                          </m:r>
                          <m:r>
                            <m:rPr>
                              <m:sty m:val="p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+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𝑃𝐷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387A9DE-06B8-2C45-AB69-72822ACCC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807" y="1297159"/>
                <a:ext cx="4669706" cy="71526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567D3414-754A-D541-9C79-184AFB4BCF29}"/>
              </a:ext>
            </a:extLst>
          </p:cNvPr>
          <p:cNvSpPr txBox="1"/>
          <p:nvPr/>
        </p:nvSpPr>
        <p:spPr>
          <a:xfrm>
            <a:off x="536578" y="2302251"/>
            <a:ext cx="453336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консервативная оценка для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форварда – это</a:t>
            </a:r>
          </a:p>
          <a:p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–(1-RR)*PD</a:t>
            </a:r>
            <a:r>
              <a:rPr lang="ru-RU" sz="1400" dirty="0">
                <a:solidFill>
                  <a:schemeClr val="tx2"/>
                </a:solidFill>
              </a:rPr>
              <a:t>(0</a:t>
            </a:r>
            <a:r>
              <a:rPr lang="en-US" sz="1400" dirty="0">
                <a:solidFill>
                  <a:schemeClr val="tx2"/>
                </a:solidFill>
              </a:rPr>
              <a:t>,T)*PV(</a:t>
            </a:r>
            <a:r>
              <a:rPr lang="ru-RU" sz="1400" dirty="0">
                <a:solidFill>
                  <a:schemeClr val="tx2"/>
                </a:solidFill>
              </a:rPr>
              <a:t>европейского опциона с теми же </a:t>
            </a:r>
            <a:r>
              <a:rPr lang="en-US" sz="1400" dirty="0">
                <a:solidFill>
                  <a:schemeClr val="tx2"/>
                </a:solidFill>
              </a:rPr>
              <a:t>K </a:t>
            </a:r>
            <a:r>
              <a:rPr lang="ru-RU" sz="1400" dirty="0">
                <a:solidFill>
                  <a:schemeClr val="tx2"/>
                </a:solidFill>
              </a:rPr>
              <a:t>и </a:t>
            </a:r>
            <a:r>
              <a:rPr lang="en-US" sz="1400" dirty="0">
                <a:solidFill>
                  <a:schemeClr val="tx2"/>
                </a:solidFill>
              </a:rPr>
              <a:t>T</a:t>
            </a:r>
            <a:r>
              <a:rPr lang="ru-RU" sz="1400" dirty="0">
                <a:solidFill>
                  <a:schemeClr val="tx2"/>
                </a:solidFill>
              </a:rPr>
              <a:t>)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потому что мы вместо интеграла по </a:t>
            </a:r>
            <a:r>
              <a:rPr lang="en-US" sz="1400" dirty="0">
                <a:solidFill>
                  <a:schemeClr val="tx2"/>
                </a:solidFill>
              </a:rPr>
              <a:t>t </a:t>
            </a:r>
            <a:r>
              <a:rPr lang="ru-RU" sz="1400" dirty="0">
                <a:solidFill>
                  <a:schemeClr val="tx2"/>
                </a:solidFill>
              </a:rPr>
              <a:t>посчитали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что как будто контрагент  не </a:t>
            </a:r>
            <a:r>
              <a:rPr lang="ru-RU" sz="1400" dirty="0" err="1">
                <a:solidFill>
                  <a:schemeClr val="tx2"/>
                </a:solidFill>
              </a:rPr>
              <a:t>задефолтит</a:t>
            </a:r>
            <a:r>
              <a:rPr lang="ru-RU" sz="1400" dirty="0">
                <a:solidFill>
                  <a:schemeClr val="tx2"/>
                </a:solidFill>
              </a:rPr>
              <a:t> до конца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потому что максимальное </a:t>
            </a:r>
            <a:r>
              <a:rPr lang="en-US" sz="1400" dirty="0">
                <a:solidFill>
                  <a:schemeClr val="tx2"/>
                </a:solidFill>
              </a:rPr>
              <a:t>Exposure </a:t>
            </a:r>
            <a:r>
              <a:rPr lang="ru-RU" sz="1400" dirty="0">
                <a:solidFill>
                  <a:schemeClr val="tx2"/>
                </a:solidFill>
              </a:rPr>
              <a:t>как раз в конце достигаетс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229C0A1-9F6C-4848-ADFE-4D4B6C476B7A}"/>
              </a:ext>
            </a:extLst>
          </p:cNvPr>
          <p:cNvSpPr txBox="1"/>
          <p:nvPr/>
        </p:nvSpPr>
        <p:spPr>
          <a:xfrm>
            <a:off x="399625" y="4885514"/>
            <a:ext cx="447855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А если нам нужно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форварда с </a:t>
            </a:r>
            <a:r>
              <a:rPr lang="en-US" sz="1400" dirty="0">
                <a:solidFill>
                  <a:schemeClr val="tx2"/>
                </a:solidFill>
              </a:rPr>
              <a:t>CSA – </a:t>
            </a:r>
            <a:r>
              <a:rPr lang="ru-RU" sz="1400" dirty="0">
                <a:solidFill>
                  <a:schemeClr val="tx2"/>
                </a:solidFill>
              </a:rPr>
              <a:t>то это будет соответствовать </a:t>
            </a:r>
            <a:r>
              <a:rPr lang="en-US" sz="1400" dirty="0">
                <a:solidFill>
                  <a:schemeClr val="tx2"/>
                </a:solidFill>
              </a:rPr>
              <a:t>–(1-RR)*PD</a:t>
            </a:r>
            <a:r>
              <a:rPr lang="ru-RU" sz="1400" dirty="0">
                <a:solidFill>
                  <a:schemeClr val="tx2"/>
                </a:solidFill>
              </a:rPr>
              <a:t>(0</a:t>
            </a:r>
            <a:r>
              <a:rPr lang="en-US" sz="1400" dirty="0">
                <a:solidFill>
                  <a:schemeClr val="tx2"/>
                </a:solidFill>
              </a:rPr>
              <a:t>,T)*PV(</a:t>
            </a:r>
            <a:r>
              <a:rPr lang="ru-RU" sz="1400" dirty="0">
                <a:solidFill>
                  <a:schemeClr val="tx2"/>
                </a:solidFill>
              </a:rPr>
              <a:t>барьерного опциона с тем же </a:t>
            </a:r>
            <a:r>
              <a:rPr lang="ru-RU" sz="1400" dirty="0" err="1">
                <a:solidFill>
                  <a:schemeClr val="tx2"/>
                </a:solidFill>
              </a:rPr>
              <a:t>страйком</a:t>
            </a:r>
            <a:r>
              <a:rPr lang="ru-RU" sz="1400" dirty="0">
                <a:solidFill>
                  <a:schemeClr val="tx2"/>
                </a:solidFill>
              </a:rPr>
              <a:t> и тем же временем до экспирации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F91C43-46A6-DB42-8E1E-E0BA444B8ECE}"/>
              </a:ext>
            </a:extLst>
          </p:cNvPr>
          <p:cNvSpPr txBox="1"/>
          <p:nvPr/>
        </p:nvSpPr>
        <p:spPr>
          <a:xfrm>
            <a:off x="399625" y="4390842"/>
            <a:ext cx="44785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Отметим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что линейный инструмент (форвард) с точки зрения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превратился в нелинейный (опцион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238256-429E-074C-B4EE-3774CA087BFC}"/>
              </a:ext>
            </a:extLst>
          </p:cNvPr>
          <p:cNvSpPr txBox="1"/>
          <p:nvPr/>
        </p:nvSpPr>
        <p:spPr>
          <a:xfrm>
            <a:off x="399625" y="3637202"/>
            <a:ext cx="42113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 своей природе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форварда похож на американский опцион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90373F-23F5-C542-AE26-4BDFFE4C34CF}"/>
              </a:ext>
            </a:extLst>
          </p:cNvPr>
          <p:cNvSpPr txBox="1"/>
          <p:nvPr/>
        </p:nvSpPr>
        <p:spPr>
          <a:xfrm>
            <a:off x="399625" y="5942872"/>
            <a:ext cx="476518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А по форме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</a:t>
            </a:r>
            <a:r>
              <a:rPr lang="ru-RU" sz="1400" dirty="0" err="1">
                <a:solidFill>
                  <a:schemeClr val="tx2"/>
                </a:solidFill>
              </a:rPr>
              <a:t>форвардв</a:t>
            </a:r>
            <a:r>
              <a:rPr lang="ru-RU" sz="1400" dirty="0">
                <a:solidFill>
                  <a:schemeClr val="tx2"/>
                </a:solidFill>
              </a:rPr>
              <a:t> с </a:t>
            </a:r>
            <a:r>
              <a:rPr lang="en-US" sz="1400" dirty="0">
                <a:solidFill>
                  <a:schemeClr val="tx2"/>
                </a:solidFill>
              </a:rPr>
              <a:t>CSA </a:t>
            </a:r>
            <a:r>
              <a:rPr lang="ru-RU" sz="1400" dirty="0" err="1">
                <a:solidFill>
                  <a:schemeClr val="tx2"/>
                </a:solidFill>
              </a:rPr>
              <a:t>соотвествуе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PV </a:t>
            </a:r>
            <a:r>
              <a:rPr lang="ru-RU" sz="1400" dirty="0">
                <a:solidFill>
                  <a:schemeClr val="tx2"/>
                </a:solidFill>
              </a:rPr>
              <a:t>американского барьерного опциона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то есть самого сложного продукта! 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113A5298-899A-3B42-A8D8-5D9D8EED06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0241" y="2519349"/>
            <a:ext cx="6442805" cy="4300013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B20B569-6A4E-554A-BDCB-3C2D74CB6B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4977" y="201901"/>
            <a:ext cx="2628286" cy="2561841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112814C5-50E8-2B49-B81B-F7D6B2568A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797" y="1109862"/>
            <a:ext cx="3429180" cy="1409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828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455937" y="4146710"/>
            <a:ext cx="10686484" cy="2467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ючевые особенности архитектуры</a:t>
            </a:r>
            <a:endParaRPr lang="en-US" b="1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пределенные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 в «облаке»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отокол взаимодействия легко поддерживает сложные, долгие вычисления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ация алгоритмов использует </a:t>
            </a:r>
            <a:r>
              <a:rPr lang="ru-RU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екторизованные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счет риска с помощью технологий </a:t>
            </a:r>
            <a:r>
              <a:rPr lang="ru-RU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дифференцирования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сложных продуктов и рисков при помощи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-Carlo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ределение типов деривативных продуктов (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 отделено от модели базовых активов 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ий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PI: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гко </a:t>
            </a:r>
            <a:r>
              <a:rPr lang="ru-RU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отипировать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легко использовать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ирокие возможности для интеграции с системами Банка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ая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тформа как сервис</a:t>
            </a:r>
            <a:b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681041" y="940701"/>
            <a:ext cx="10639521" cy="3128982"/>
            <a:chOff x="790733" y="872800"/>
            <a:chExt cx="10639521" cy="3128982"/>
          </a:xfrm>
        </p:grpSpPr>
        <p:sp>
          <p:nvSpPr>
            <p:cNvPr id="6" name="Left-Right Arrow 5"/>
            <p:cNvSpPr/>
            <p:nvPr/>
          </p:nvSpPr>
          <p:spPr>
            <a:xfrm>
              <a:off x="4786819" y="2191437"/>
              <a:ext cx="1029226" cy="554411"/>
            </a:xfrm>
            <a:prstGeom prst="left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6054609" y="872800"/>
              <a:ext cx="5375645" cy="2894073"/>
              <a:chOff x="6054609" y="872800"/>
              <a:chExt cx="5375645" cy="2894073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6410157" y="1042470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6098455" y="1088738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6054609" y="1148060"/>
                <a:ext cx="4750541" cy="261881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6339481" y="1300747"/>
                <a:ext cx="2448271" cy="2313440"/>
                <a:chOff x="6339481" y="1300747"/>
                <a:chExt cx="2448271" cy="2313440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6358449" y="1300747"/>
                  <a:ext cx="2429303" cy="2313440"/>
                </a:xfrm>
                <a:prstGeom prst="rect">
                  <a:avLst/>
                </a:prstGeom>
                <a:ln>
                  <a:noFill/>
                </a:ln>
                <a:effectLst/>
              </p:spPr>
            </p:sp>
            <p:sp>
              <p:nvSpPr>
                <p:cNvPr id="42" name="Freeform 41"/>
                <p:cNvSpPr/>
                <p:nvPr/>
              </p:nvSpPr>
              <p:spPr>
                <a:xfrm>
                  <a:off x="6867526" y="1467397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torage</a:t>
                  </a:r>
                </a:p>
              </p:txBody>
            </p:sp>
            <p:sp>
              <p:nvSpPr>
                <p:cNvPr id="43" name="Freeform 42"/>
                <p:cNvSpPr/>
                <p:nvPr/>
              </p:nvSpPr>
              <p:spPr>
                <a:xfrm>
                  <a:off x="6339481" y="1481841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546018" y="380559"/>
                      </a:moveTo>
                      <a:arcTo wR="841818" hR="841818" stAng="19606486" swAng="1010864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4" name="Freeform 43"/>
                <p:cNvSpPr/>
                <p:nvPr/>
              </p:nvSpPr>
              <p:spPr>
                <a:xfrm>
                  <a:off x="7668325" y="2165151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nalytical Core</a:t>
                  </a:r>
                </a:p>
              </p:txBody>
            </p:sp>
            <p:sp>
              <p:nvSpPr>
                <p:cNvPr id="45" name="Freeform 44"/>
                <p:cNvSpPr/>
                <p:nvPr/>
              </p:nvSpPr>
              <p:spPr>
                <a:xfrm>
                  <a:off x="6559422" y="1495936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469739" y="1402508"/>
                      </a:moveTo>
                      <a:arcTo wR="841818" hR="841818" stAng="2505759" swAng="1652532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6" name="Freeform 45"/>
                <p:cNvSpPr/>
                <p:nvPr/>
              </p:nvSpPr>
              <p:spPr>
                <a:xfrm>
                  <a:off x="6604534" y="2604619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Tasks</a:t>
                  </a:r>
                  <a:r>
                    <a:rPr lang="en-US" sz="1400" kern="1200" dirty="0" smtClean="0"/>
                    <a:t> </a:t>
                  </a: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cheduler</a:t>
                  </a:r>
                </a:p>
              </p:txBody>
            </p:sp>
            <p:sp>
              <p:nvSpPr>
                <p:cNvPr id="47" name="Freeform 46"/>
                <p:cNvSpPr/>
                <p:nvPr/>
              </p:nvSpPr>
              <p:spPr>
                <a:xfrm>
                  <a:off x="6896205" y="1417187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8077" y="1092134"/>
                      </a:moveTo>
                      <a:arcTo wR="841818" hR="841818" stAng="9762083" swAng="1282643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3" name="Rectangle 2"/>
              <p:cNvSpPr/>
              <p:nvPr/>
            </p:nvSpPr>
            <p:spPr>
              <a:xfrm>
                <a:off x="9902631" y="872800"/>
                <a:ext cx="1349481" cy="7773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ерверы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9467150" y="1557811"/>
                <a:ext cx="966434" cy="617296"/>
                <a:chOff x="1542478" y="1062551"/>
                <a:chExt cx="1062009" cy="690306"/>
              </a:xfrm>
            </p:grpSpPr>
            <p:sp>
              <p:nvSpPr>
                <p:cNvPr id="26" name="Rounded Rectangle 25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27" name="Rounded Rectangle 4"/>
                <p:cNvSpPr txBox="1"/>
                <p:nvPr/>
              </p:nvSpPr>
              <p:spPr>
                <a:xfrm>
                  <a:off x="1576176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lgos</a:t>
                  </a:r>
                  <a:endParaRPr lang="en-US" sz="1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</p:grpSp>
          <p:grpSp>
            <p:nvGrpSpPr>
              <p:cNvPr id="28" name="Group 27"/>
              <p:cNvGrpSpPr/>
              <p:nvPr/>
            </p:nvGrpSpPr>
            <p:grpSpPr>
              <a:xfrm>
                <a:off x="9467150" y="2396010"/>
                <a:ext cx="966434" cy="617296"/>
                <a:chOff x="1542478" y="1062551"/>
                <a:chExt cx="1062009" cy="690306"/>
              </a:xfrm>
            </p:grpSpPr>
            <p:sp>
              <p:nvSpPr>
                <p:cNvPr id="29" name="Rounded Rectangle 28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30" name="Rounded Rectangle 4"/>
                <p:cNvSpPr txBox="1"/>
                <p:nvPr/>
              </p:nvSpPr>
              <p:spPr>
                <a:xfrm>
                  <a:off x="1576175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>
                  <a:defPPr>
                    <a:defRPr lang="en-US"/>
                  </a:defPPr>
                  <a:lvl1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 sz="1200">
                      <a:solidFill>
                        <a:schemeClr val="accent1">
                          <a:lumMod val="50000"/>
                        </a:schemeClr>
                      </a:solidFill>
                    </a:defRPr>
                  </a:lvl1pPr>
                </a:lstStyle>
                <a:p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High-level business logic</a:t>
                  </a:r>
                </a:p>
              </p:txBody>
            </p:sp>
          </p:grpSp>
          <p:cxnSp>
            <p:nvCxnSpPr>
              <p:cNvPr id="23" name="Straight Arrow Connector 22"/>
              <p:cNvCxnSpPr/>
              <p:nvPr/>
            </p:nvCxnSpPr>
            <p:spPr>
              <a:xfrm flipV="1">
                <a:off x="8710405" y="1948839"/>
                <a:ext cx="699079" cy="3521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/>
              <p:nvPr/>
            </p:nvCxnSpPr>
            <p:spPr>
              <a:xfrm>
                <a:off x="8797490" y="2531983"/>
                <a:ext cx="611994" cy="213865"/>
              </a:xfrm>
              <a:prstGeom prst="straightConnector1">
                <a:avLst/>
              </a:prstGeom>
              <a:ln>
                <a:prstDash val="lg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/>
          </p:nvGrpSpPr>
          <p:grpSpPr>
            <a:xfrm>
              <a:off x="790733" y="948982"/>
              <a:ext cx="3757523" cy="3052800"/>
              <a:chOff x="790733" y="948982"/>
              <a:chExt cx="3757523" cy="305280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790733" y="984794"/>
                <a:ext cx="3444963" cy="2967855"/>
                <a:chOff x="790733" y="984794"/>
                <a:chExt cx="3444963" cy="2967855"/>
              </a:xfrm>
            </p:grpSpPr>
            <p:sp>
              <p:nvSpPr>
                <p:cNvPr id="14" name="Freeform 13"/>
                <p:cNvSpPr/>
                <p:nvPr/>
              </p:nvSpPr>
              <p:spPr>
                <a:xfrm>
                  <a:off x="1256730" y="2468722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0 h 1250928"/>
                    <a:gd name="connsiteX1" fmla="*/ 238074 w 476149"/>
                    <a:gd name="connsiteY1" fmla="*/ 0 h 1250928"/>
                    <a:gd name="connsiteX2" fmla="*/ 238074 w 476149"/>
                    <a:gd name="connsiteY2" fmla="*/ 1250928 h 1250928"/>
                    <a:gd name="connsiteX3" fmla="*/ 476149 w 476149"/>
                    <a:gd name="connsiteY3" fmla="*/ 1250928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1250928"/>
                      </a:lnTo>
                      <a:lnTo>
                        <a:pt x="476149" y="1250928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2" rIns="217312" bIns="592002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6" name="Freeform 15"/>
                <p:cNvSpPr/>
                <p:nvPr/>
              </p:nvSpPr>
              <p:spPr>
                <a:xfrm>
                  <a:off x="1256730" y="2468722"/>
                  <a:ext cx="476149" cy="668431"/>
                </a:xfrm>
                <a:custGeom>
                  <a:avLst/>
                  <a:gdLst>
                    <a:gd name="connsiteX0" fmla="*/ 0 w 476149"/>
                    <a:gd name="connsiteY0" fmla="*/ 0 h 668431"/>
                    <a:gd name="connsiteX1" fmla="*/ 238074 w 476149"/>
                    <a:gd name="connsiteY1" fmla="*/ 0 h 668431"/>
                    <a:gd name="connsiteX2" fmla="*/ 238074 w 476149"/>
                    <a:gd name="connsiteY2" fmla="*/ 668431 h 668431"/>
                    <a:gd name="connsiteX3" fmla="*/ 476149 w 476149"/>
                    <a:gd name="connsiteY3" fmla="*/ 668431 h 6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668431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668431"/>
                      </a:lnTo>
                      <a:lnTo>
                        <a:pt x="476149" y="668431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30258" tIns="313699" rIns="230257" bIns="31369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7" name="Freeform 16"/>
                <p:cNvSpPr/>
                <p:nvPr/>
              </p:nvSpPr>
              <p:spPr>
                <a:xfrm>
                  <a:off x="1256730" y="2423002"/>
                  <a:ext cx="305694" cy="91440"/>
                </a:xfrm>
                <a:custGeom>
                  <a:avLst/>
                  <a:gdLst>
                    <a:gd name="connsiteX0" fmla="*/ 0 w 305694"/>
                    <a:gd name="connsiteY0" fmla="*/ 45720 h 91440"/>
                    <a:gd name="connsiteX1" fmla="*/ 305694 w 305694"/>
                    <a:gd name="connsiteY1" fmla="*/ 45720 h 9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694" h="91440">
                      <a:moveTo>
                        <a:pt x="0" y="45720"/>
                      </a:moveTo>
                      <a:lnTo>
                        <a:pt x="305694" y="4572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57905" tIns="38078" rIns="157905" bIns="3807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8" name="Freeform 17"/>
                <p:cNvSpPr/>
                <p:nvPr/>
              </p:nvSpPr>
              <p:spPr>
                <a:xfrm>
                  <a:off x="1266320" y="1806418"/>
                  <a:ext cx="456407" cy="662303"/>
                </a:xfrm>
                <a:custGeom>
                  <a:avLst/>
                  <a:gdLst>
                    <a:gd name="connsiteX0" fmla="*/ 0 w 455148"/>
                    <a:gd name="connsiteY0" fmla="*/ 662303 h 662303"/>
                    <a:gd name="connsiteX1" fmla="*/ 227574 w 455148"/>
                    <a:gd name="connsiteY1" fmla="*/ 662303 h 662303"/>
                    <a:gd name="connsiteX2" fmla="*/ 227574 w 455148"/>
                    <a:gd name="connsiteY2" fmla="*/ 0 h 662303"/>
                    <a:gd name="connsiteX3" fmla="*/ 455148 w 455148"/>
                    <a:gd name="connsiteY3" fmla="*/ 0 h 6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148" h="662303">
                      <a:moveTo>
                        <a:pt x="0" y="662303"/>
                      </a:moveTo>
                      <a:lnTo>
                        <a:pt x="227574" y="662303"/>
                      </a:lnTo>
                      <a:lnTo>
                        <a:pt x="227574" y="0"/>
                      </a:lnTo>
                      <a:lnTo>
                        <a:pt x="455148" y="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0184" tIns="311062" rIns="220183" bIns="31106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1" name="Freeform 20"/>
                <p:cNvSpPr/>
                <p:nvPr/>
              </p:nvSpPr>
              <p:spPr>
                <a:xfrm>
                  <a:off x="1256730" y="1217793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1250928 h 1250928"/>
                    <a:gd name="connsiteX1" fmla="*/ 238074 w 476149"/>
                    <a:gd name="connsiteY1" fmla="*/ 1250928 h 1250928"/>
                    <a:gd name="connsiteX2" fmla="*/ 238074 w 476149"/>
                    <a:gd name="connsiteY2" fmla="*/ 0 h 1250928"/>
                    <a:gd name="connsiteX3" fmla="*/ 476149 w 476149"/>
                    <a:gd name="connsiteY3" fmla="*/ 0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1250928"/>
                      </a:moveTo>
                      <a:lnTo>
                        <a:pt x="238074" y="1250928"/>
                      </a:lnTo>
                      <a:lnTo>
                        <a:pt x="238074" y="0"/>
                      </a:lnTo>
                      <a:lnTo>
                        <a:pt x="476149" y="0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3" rIns="217312" bIns="592001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2" name="Freeform 21"/>
                <p:cNvSpPr/>
                <p:nvPr/>
              </p:nvSpPr>
              <p:spPr>
                <a:xfrm rot="16200000">
                  <a:off x="-202578" y="2235723"/>
                  <a:ext cx="2452619" cy="465997"/>
                </a:xfrm>
                <a:custGeom>
                  <a:avLst/>
                  <a:gdLst>
                    <a:gd name="connsiteX0" fmla="*/ 0 w 2452619"/>
                    <a:gd name="connsiteY0" fmla="*/ 0 h 465997"/>
                    <a:gd name="connsiteX1" fmla="*/ 2452619 w 2452619"/>
                    <a:gd name="connsiteY1" fmla="*/ 0 h 465997"/>
                    <a:gd name="connsiteX2" fmla="*/ 2452619 w 2452619"/>
                    <a:gd name="connsiteY2" fmla="*/ 465997 h 465997"/>
                    <a:gd name="connsiteX3" fmla="*/ 0 w 2452619"/>
                    <a:gd name="connsiteY3" fmla="*/ 465997 h 465997"/>
                    <a:gd name="connsiteX4" fmla="*/ 0 w 2452619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2619" h="465997">
                      <a:moveTo>
                        <a:pt x="0" y="0"/>
                      </a:moveTo>
                      <a:lnTo>
                        <a:pt x="2452619" y="0"/>
                      </a:lnTo>
                      <a:lnTo>
                        <a:pt x="2452619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19" tIns="20320" rIns="20321" bIns="2032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30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Клиенты</a:t>
                  </a:r>
                  <a:endParaRPr lang="en-US" sz="3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4" name="Freeform 33"/>
                <p:cNvSpPr/>
                <p:nvPr/>
              </p:nvSpPr>
              <p:spPr>
                <a:xfrm>
                  <a:off x="1724002" y="984794"/>
                  <a:ext cx="2380274" cy="465997"/>
                </a:xfrm>
                <a:custGeom>
                  <a:avLst/>
                  <a:gdLst>
                    <a:gd name="connsiteX0" fmla="*/ 0 w 2321520"/>
                    <a:gd name="connsiteY0" fmla="*/ 0 h 465997"/>
                    <a:gd name="connsiteX1" fmla="*/ 2321520 w 2321520"/>
                    <a:gd name="connsiteY1" fmla="*/ 0 h 465997"/>
                    <a:gd name="connsiteX2" fmla="*/ 2321520 w 2321520"/>
                    <a:gd name="connsiteY2" fmla="*/ 465997 h 465997"/>
                    <a:gd name="connsiteX3" fmla="*/ 0 w 2321520"/>
                    <a:gd name="connsiteY3" fmla="*/ 465997 h 465997"/>
                    <a:gd name="connsiteX4" fmla="*/ 0 w 2321520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1520" h="465997">
                      <a:moveTo>
                        <a:pt x="0" y="0"/>
                      </a:moveTo>
                      <a:lnTo>
                        <a:pt x="2321520" y="0"/>
                      </a:lnTo>
                      <a:lnTo>
                        <a:pt x="2321520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ески / рисковая аналитика</a:t>
                  </a:r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 (Python API, Excels)</a:t>
                  </a:r>
                </a:p>
              </p:txBody>
            </p:sp>
            <p:sp>
              <p:nvSpPr>
                <p:cNvPr id="35" name="Freeform 34"/>
                <p:cNvSpPr/>
                <p:nvPr/>
              </p:nvSpPr>
              <p:spPr>
                <a:xfrm>
                  <a:off x="1724002" y="1573419"/>
                  <a:ext cx="2380274" cy="465997"/>
                </a:xfrm>
                <a:custGeom>
                  <a:avLst/>
                  <a:gdLst>
                    <a:gd name="connsiteX0" fmla="*/ 0 w 2355574"/>
                    <a:gd name="connsiteY0" fmla="*/ 0 h 465997"/>
                    <a:gd name="connsiteX1" fmla="*/ 2355574 w 2355574"/>
                    <a:gd name="connsiteY1" fmla="*/ 0 h 465997"/>
                    <a:gd name="connsiteX2" fmla="*/ 2355574 w 2355574"/>
                    <a:gd name="connsiteY2" fmla="*/ 465997 h 465997"/>
                    <a:gd name="connsiteX3" fmla="*/ 0 w 2355574"/>
                    <a:gd name="connsiteY3" fmla="*/ 465997 h 465997"/>
                    <a:gd name="connsiteX4" fmla="*/ 0 w 23555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5574" h="465997">
                      <a:moveTo>
                        <a:pt x="0" y="0"/>
                      </a:moveTo>
                      <a:lnTo>
                        <a:pt x="2355574" y="0"/>
                      </a:lnTo>
                      <a:lnTo>
                        <a:pt x="23555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Murex via Flex API</a:t>
                  </a:r>
                </a:p>
              </p:txBody>
            </p:sp>
            <p:sp>
              <p:nvSpPr>
                <p:cNvPr id="36" name="Freeform 35"/>
                <p:cNvSpPr/>
                <p:nvPr/>
              </p:nvSpPr>
              <p:spPr>
                <a:xfrm>
                  <a:off x="1563820" y="2149789"/>
                  <a:ext cx="2671876" cy="637866"/>
                </a:xfrm>
                <a:custGeom>
                  <a:avLst/>
                  <a:gdLst>
                    <a:gd name="connsiteX0" fmla="*/ 0 w 2671876"/>
                    <a:gd name="connsiteY0" fmla="*/ 0 h 637866"/>
                    <a:gd name="connsiteX1" fmla="*/ 2671876 w 2671876"/>
                    <a:gd name="connsiteY1" fmla="*/ 0 h 637866"/>
                    <a:gd name="connsiteX2" fmla="*/ 2671876 w 2671876"/>
                    <a:gd name="connsiteY2" fmla="*/ 637866 h 637866"/>
                    <a:gd name="connsiteX3" fmla="*/ 0 w 2671876"/>
                    <a:gd name="connsiteY3" fmla="*/ 637866 h 637866"/>
                    <a:gd name="connsiteX4" fmla="*/ 0 w 2671876"/>
                    <a:gd name="connsiteY4" fmla="*/ 0 h 63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71876" h="637866">
                      <a:moveTo>
                        <a:pt x="0" y="0"/>
                      </a:moveTo>
                      <a:lnTo>
                        <a:pt x="2671876" y="0"/>
                      </a:lnTo>
                      <a:lnTo>
                        <a:pt x="2671876" y="637866"/>
                      </a:lnTo>
                      <a:lnTo>
                        <a:pt x="0" y="63786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7CCAB"/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2700" tIns="12700" rIns="12700" bIns="1270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2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xVA</a:t>
                  </a:r>
                  <a:endParaRPr lang="en-US" sz="2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>
                  <a:off x="1724002" y="2904155"/>
                  <a:ext cx="2380274" cy="465997"/>
                </a:xfrm>
                <a:custGeom>
                  <a:avLst/>
                  <a:gdLst>
                    <a:gd name="connsiteX0" fmla="*/ 0 w 2348222"/>
                    <a:gd name="connsiteY0" fmla="*/ 0 h 465997"/>
                    <a:gd name="connsiteX1" fmla="*/ 2348222 w 2348222"/>
                    <a:gd name="connsiteY1" fmla="*/ 0 h 465997"/>
                    <a:gd name="connsiteX2" fmla="*/ 2348222 w 2348222"/>
                    <a:gd name="connsiteY2" fmla="*/ 465997 h 465997"/>
                    <a:gd name="connsiteX3" fmla="*/ 0 w 2348222"/>
                    <a:gd name="connsiteY3" fmla="*/ 465997 h 465997"/>
                    <a:gd name="connsiteX4" fmla="*/ 0 w 2348222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8222" h="465997">
                      <a:moveTo>
                        <a:pt x="0" y="0"/>
                      </a:moveTo>
                      <a:lnTo>
                        <a:pt x="2348222" y="0"/>
                      </a:lnTo>
                      <a:lnTo>
                        <a:pt x="2348222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огма</a:t>
                  </a: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, K7M</a:t>
                  </a:r>
                </a:p>
              </p:txBody>
            </p:sp>
            <p:sp>
              <p:nvSpPr>
                <p:cNvPr id="39" name="Freeform 38"/>
                <p:cNvSpPr/>
                <p:nvPr/>
              </p:nvSpPr>
              <p:spPr>
                <a:xfrm>
                  <a:off x="1724002" y="3486652"/>
                  <a:ext cx="2380274" cy="465997"/>
                </a:xfrm>
                <a:custGeom>
                  <a:avLst/>
                  <a:gdLst>
                    <a:gd name="connsiteX0" fmla="*/ 0 w 2380274"/>
                    <a:gd name="connsiteY0" fmla="*/ 0 h 465997"/>
                    <a:gd name="connsiteX1" fmla="*/ 2380274 w 2380274"/>
                    <a:gd name="connsiteY1" fmla="*/ 0 h 465997"/>
                    <a:gd name="connsiteX2" fmla="*/ 2380274 w 2380274"/>
                    <a:gd name="connsiteY2" fmla="*/ 465997 h 465997"/>
                    <a:gd name="connsiteX3" fmla="*/ 0 w 2380274"/>
                    <a:gd name="connsiteY3" fmla="*/ 465997 h 465997"/>
                    <a:gd name="connsiteX4" fmla="*/ 0 w 23802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0274" h="465997">
                      <a:moveTo>
                        <a:pt x="0" y="0"/>
                      </a:moveTo>
                      <a:lnTo>
                        <a:pt x="2380274" y="0"/>
                      </a:lnTo>
                      <a:lnTo>
                        <a:pt x="23802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CRM (Web interface)</a:t>
                  </a:r>
                </a:p>
              </p:txBody>
            </p:sp>
          </p:grpSp>
          <p:sp>
            <p:nvSpPr>
              <p:cNvPr id="9" name="Right Brace 8"/>
              <p:cNvSpPr/>
              <p:nvPr/>
            </p:nvSpPr>
            <p:spPr>
              <a:xfrm>
                <a:off x="4267218" y="948982"/>
                <a:ext cx="281038" cy="3052800"/>
              </a:xfrm>
              <a:prstGeom prst="rightBrace">
                <a:avLst/>
              </a:prstGeom>
              <a:ln w="25400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42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дача </a:t>
            </a:r>
            <a:r>
              <a:rPr lang="ru-RU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1" name="Freeform 43"/>
          <p:cNvSpPr/>
          <p:nvPr/>
        </p:nvSpPr>
        <p:spPr>
          <a:xfrm>
            <a:off x="2211995" y="2316956"/>
            <a:ext cx="929768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вест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2" name="Freeform 43"/>
          <p:cNvSpPr/>
          <p:nvPr/>
        </p:nvSpPr>
        <p:spPr>
          <a:xfrm>
            <a:off x="614644" y="2293871"/>
            <a:ext cx="905143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иент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3" name="Freeform 43"/>
          <p:cNvSpPr/>
          <p:nvPr/>
        </p:nvSpPr>
        <p:spPr>
          <a:xfrm>
            <a:off x="3938654" y="1927547"/>
            <a:ext cx="905142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ынок</a:t>
            </a:r>
            <a:endParaRPr lang="en-US" sz="1600" b="1" dirty="0" smtClean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</a:t>
            </a:r>
            <a:endParaRPr lang="ru-RU" sz="1600" b="1" dirty="0" smtClean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Прямоугольник 15"/>
              <p:cNvSpPr/>
              <p:nvPr/>
            </p:nvSpPr>
            <p:spPr>
              <a:xfrm>
                <a:off x="-71095" y="3703134"/>
                <a:ext cx="5672928" cy="28639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тоимость любого контракта:</a:t>
                </a:r>
              </a:p>
              <a:p>
                <a:pPr lvl="1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r>
                        <a:rPr lang="en-US" sz="16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sSup>
                        <m:sSup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pPr>
                        <m:e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𝑄</m:t>
                          </m:r>
                        </m:sup>
                      </m:sSup>
                      <m:d>
                        <m:d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𝐹</m:t>
                          </m:r>
                        </m:e>
                      </m:d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</m:t>
                      </m:r>
                    </m:oMath>
                  </m:oMathPara>
                </a14:m>
                <a:endParaRPr lang="en-US" sz="16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 lvl="1">
                  <a:spcBef>
                    <a:spcPts val="600"/>
                  </a:spcBef>
                </a:pPr>
                <a14:m>
                  <m:oMath xmlns:m="http://schemas.openxmlformats.org/officeDocument/2006/math"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𝐹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naryPr>
                      <m: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sub>
                      <m:sup/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𝐶</m:t>
                        </m:r>
                        <m:sSub>
                          <m:sSub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sub>
                        </m:sSub>
                      </m:e>
                    </m:nary>
                  </m:oMath>
                </a14:m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умма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исконтированных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енежных потоков (экспозиция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/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азложение на фундаментальные инструменты)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endPara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lvl="1">
                  <a:spcBef>
                    <a:spcPts val="600"/>
                  </a:spcBef>
                </a:pPr>
                <a14:m>
                  <m:oMath xmlns:m="http://schemas.openxmlformats.org/officeDocument/2006/math"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𝑄</m:t>
                    </m:r>
                  </m:oMath>
                </a14:m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риск-нейтральная мера (рыночные цены фундаментальных инструментов)</a:t>
                </a:r>
              </a:p>
              <a:p>
                <a:pPr lvl="1">
                  <a:spcBef>
                    <a:spcPts val="600"/>
                  </a:spcBef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p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𝑄</m:t>
                        </m:r>
                      </m:sup>
                    </m:sSup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err="1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мат.ожидание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 риск-нейтральной мере (взвешенная по экспозиции сумма цен фундаментальных инструментов) </a:t>
                </a:r>
              </a:p>
            </p:txBody>
          </p:sp>
        </mc:Choice>
        <mc:Fallback>
          <p:sp>
            <p:nvSpPr>
              <p:cNvPr id="16" name="Прямоугольник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1095" y="3703134"/>
                <a:ext cx="5672928" cy="2863989"/>
              </a:xfrm>
              <a:prstGeom prst="rect">
                <a:avLst/>
              </a:prstGeom>
              <a:blipFill>
                <a:blip r:embed="rId3"/>
                <a:stretch>
                  <a:fillRect t="-638" r="-537" b="-170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" name="Прямоугольник 21"/>
              <p:cNvSpPr/>
              <p:nvPr/>
            </p:nvSpPr>
            <p:spPr>
              <a:xfrm>
                <a:off x="5514676" y="4270872"/>
                <a:ext cx="6381569" cy="24354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spcAft>
                    <a:spcPts val="3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екомпозиция реального потока: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lvl="1"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ru-RU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                       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−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Sup>
                        <m:sSubSup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+</m:t>
                          </m:r>
                        </m:sup>
                      </m:sSubSup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 1</m:t>
                          </m:r>
                        </m:e>
                        <m:sub>
                          <m:sSub>
                            <m:sSubPr>
                              <m:ctrlPr>
                                <a:rPr lang="ru-RU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ru-RU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клиент</m:t>
                              </m:r>
                            </m:sub>
                          </m:sSub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+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−</m:t>
                          </m:r>
                        </m:sup>
                      </m:sSubSup>
                      <m:sSub>
                        <m:sSub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 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e>
                        <m:sub>
                          <m:sSub>
                            <m:sSubPr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ru-RU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банк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ru-RU" sz="16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 lvl="1">
                  <a:spcAft>
                    <a:spcPts val="300"/>
                  </a:spcAft>
                </a:pP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екомпозиция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тоимости:</a:t>
                </a:r>
                <a:endParaRPr lang="ru-RU" sz="16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 lvl="1" algn="ctr">
                  <a:spcAft>
                    <a:spcPts val="300"/>
                  </a:spcAft>
                </a:pPr>
                <a14:m>
                  <m:oMath xmlns:m="http://schemas.openxmlformats.org/officeDocument/2006/math"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𝑉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 −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𝑉𝐴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+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𝐷𝑉𝐴</m:t>
                    </m:r>
                  </m:oMath>
                </a14:m>
                <a:r>
                  <a:rPr lang="en-US" sz="1600" i="1" dirty="0" smtClean="0">
                    <a:solidFill>
                      <a:srgbClr val="575757">
                        <a:lumMod val="50000"/>
                      </a:srgbClr>
                    </a:solidFill>
                    <a:latin typeface="Cambria Math" panose="02040503050406030204" pitchFamily="18" charset="0"/>
                    <a:cs typeface="SB Sans Display Light" panose="020B0303040504020204" pitchFamily="34" charset="0"/>
                  </a:rPr>
                  <a:t> </a:t>
                </a:r>
                <a:endParaRPr lang="ru-RU" sz="1600" i="1" dirty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 lvl="1">
                  <a:spcAft>
                    <a:spcPts val="3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ru-RU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sSup>
                      <m:sSup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p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𝑄</m:t>
                        </m:r>
                      </m:sup>
                    </m:sSup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</m:t>
                    </m:r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𝐹</m:t>
                        </m:r>
                      </m:e>
                      <m:sub>
                        <m: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i="1" dirty="0" smtClean="0">
                    <a:solidFill>
                      <a:srgbClr val="575757">
                        <a:lumMod val="50000"/>
                      </a:srgbClr>
                    </a:solidFill>
                    <a:latin typeface="Cambria Math" panose="02040503050406030204" pitchFamily="18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стоимость контрактных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латежей</a:t>
                </a:r>
              </a:p>
              <a:p>
                <a:pPr lvl="1">
                  <a:spcAft>
                    <a:spcPts val="300"/>
                  </a:spcAft>
                </a:pPr>
                <a14:m>
                  <m:oMath xmlns:m="http://schemas.openxmlformats.org/officeDocument/2006/math"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𝑉𝐴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p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p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𝑄</m:t>
                        </m:r>
                      </m:sup>
                    </m:sSup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</m:t>
                    </m:r>
                    <m:sSubSup>
                      <m:sSubSup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𝐹</m:t>
                        </m:r>
                      </m:e>
                      <m:sub>
                        <m: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  <m:sup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+</m:t>
                        </m:r>
                      </m:sup>
                    </m:sSubSup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e>
                      <m:sub>
                        <m:sSub>
                          <m:sSubPr>
                            <m:ctrlPr>
                              <a:rPr lang="ru-RU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ru-RU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клиент</m:t>
                            </m:r>
                          </m:sub>
                        </m:sSub>
                      </m:sub>
                    </m:sSub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i="1" dirty="0">
                    <a:solidFill>
                      <a:srgbClr val="575757">
                        <a:lumMod val="50000"/>
                      </a:srgbClr>
                    </a:solidFill>
                    <a:latin typeface="Cambria Math" panose="02040503050406030204" pitchFamily="18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правка на кредитный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иск</a:t>
                </a:r>
              </a:p>
              <a:p>
                <a:pPr lvl="1">
                  <a:spcAft>
                    <a:spcPts val="300"/>
                  </a:spcAft>
                </a:pPr>
                <a14:m>
                  <m:oMath xmlns:m="http://schemas.openxmlformats.org/officeDocument/2006/math"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𝐷</m:t>
                    </m:r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𝑉𝐴</m:t>
                    </m:r>
                  </m:oMath>
                </a14:m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p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p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𝑄</m:t>
                        </m:r>
                      </m:sup>
                    </m:sSup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</m:t>
                    </m:r>
                    <m:sSubSup>
                      <m:sSubSup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Sup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𝐹</m:t>
                        </m:r>
                      </m:e>
                      <m:sub>
                        <m: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  <m:sup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−</m:t>
                        </m:r>
                      </m:sup>
                    </m:sSubSup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e>
                      <m:sub>
                        <m:sSub>
                          <m:sSub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ru-RU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банк</m:t>
                            </m:r>
                          </m:sub>
                        </m:sSub>
                      </m:sub>
                    </m:sSub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i="1" dirty="0">
                    <a:solidFill>
                      <a:srgbClr val="575757">
                        <a:lumMod val="50000"/>
                      </a:srgbClr>
                    </a:solidFill>
                    <a:latin typeface="Cambria Math" panose="02040503050406030204" pitchFamily="18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правка на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обственный дефолт</a:t>
                </a:r>
              </a:p>
              <a:p>
                <a:pPr lvl="1">
                  <a:spcAft>
                    <a:spcPts val="3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e>
                      <m:sub>
                        <m:sSub>
                          <m:sSubPr>
                            <m:ctrlPr>
                              <a:rPr lang="ru-RU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ru-RU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клиент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e>
                      <m:sub>
                        <m:sSub>
                          <m:sSub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ru-RU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банк</m:t>
                            </m:r>
                          </m:sub>
                        </m:sSub>
                      </m:sub>
                    </m:sSub>
                  </m:oMath>
                </a14:m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индикаторы дефолта контрагента и банка</a:t>
                </a:r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22" name="Прямоугольник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4676" y="4270872"/>
                <a:ext cx="6381569" cy="2435475"/>
              </a:xfrm>
              <a:prstGeom prst="rect">
                <a:avLst/>
              </a:prstGeom>
              <a:blipFill>
                <a:blip r:embed="rId4"/>
                <a:stretch>
                  <a:fillRect t="-752" b="-175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Прямоугольник 22"/>
          <p:cNvSpPr/>
          <p:nvPr/>
        </p:nvSpPr>
        <p:spPr>
          <a:xfrm>
            <a:off x="334524" y="940606"/>
            <a:ext cx="41635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 репликация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ложных контрактов через торгуемые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струменты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854962" y="940606"/>
            <a:ext cx="19746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фолтные события влияют на </a:t>
            </a:r>
            <a:r>
              <a:rPr lang="ru-RU" sz="16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9" name="Равно 38"/>
          <p:cNvSpPr/>
          <p:nvPr/>
        </p:nvSpPr>
        <p:spPr>
          <a:xfrm>
            <a:off x="8457434" y="2489903"/>
            <a:ext cx="289880" cy="325749"/>
          </a:xfrm>
          <a:prstGeom prst="mathEqual">
            <a:avLst/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Плюс 39"/>
          <p:cNvSpPr/>
          <p:nvPr/>
        </p:nvSpPr>
        <p:spPr>
          <a:xfrm>
            <a:off x="10246274" y="3015551"/>
            <a:ext cx="348256" cy="361766"/>
          </a:xfrm>
          <a:prstGeom prst="mathPlus">
            <a:avLst/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1" name="Плюс 40"/>
          <p:cNvSpPr/>
          <p:nvPr/>
        </p:nvSpPr>
        <p:spPr>
          <a:xfrm>
            <a:off x="10247672" y="1936547"/>
            <a:ext cx="348256" cy="361766"/>
          </a:xfrm>
          <a:prstGeom prst="mathPlus">
            <a:avLst/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47" name="Straight Arrow Connector 22"/>
          <p:cNvCxnSpPr/>
          <p:nvPr/>
        </p:nvCxnSpPr>
        <p:spPr>
          <a:xfrm flipV="1">
            <a:off x="1634831" y="2605367"/>
            <a:ext cx="465399" cy="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22"/>
          <p:cNvCxnSpPr/>
          <p:nvPr/>
        </p:nvCxnSpPr>
        <p:spPr>
          <a:xfrm flipV="1">
            <a:off x="3270744" y="2207657"/>
            <a:ext cx="555214" cy="27784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43"/>
          <p:cNvSpPr/>
          <p:nvPr/>
        </p:nvSpPr>
        <p:spPr>
          <a:xfrm>
            <a:off x="7420592" y="2369198"/>
            <a:ext cx="929768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6" name="Freeform 43"/>
          <p:cNvSpPr/>
          <p:nvPr/>
        </p:nvSpPr>
        <p:spPr>
          <a:xfrm>
            <a:off x="5961248" y="2369199"/>
            <a:ext cx="905143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иент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57" name="Straight Arrow Connector 22"/>
          <p:cNvCxnSpPr/>
          <p:nvPr/>
        </p:nvCxnSpPr>
        <p:spPr>
          <a:xfrm flipV="1">
            <a:off x="6910792" y="2650236"/>
            <a:ext cx="465399" cy="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58" name="Прямоугольник 57"/>
              <p:cNvSpPr/>
              <p:nvPr/>
            </p:nvSpPr>
            <p:spPr>
              <a:xfrm>
                <a:off x="6949955" y="2319732"/>
                <a:ext cx="45454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58" name="Прямоугольник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9955" y="2319732"/>
                <a:ext cx="454548" cy="30777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9" name="Freeform 43"/>
          <p:cNvSpPr/>
          <p:nvPr/>
        </p:nvSpPr>
        <p:spPr>
          <a:xfrm>
            <a:off x="10682511" y="1315997"/>
            <a:ext cx="929768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60" name="Freeform 43"/>
          <p:cNvSpPr/>
          <p:nvPr/>
        </p:nvSpPr>
        <p:spPr>
          <a:xfrm>
            <a:off x="9223167" y="1315998"/>
            <a:ext cx="905143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иент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61" name="Straight Arrow Connector 22"/>
          <p:cNvCxnSpPr/>
          <p:nvPr/>
        </p:nvCxnSpPr>
        <p:spPr>
          <a:xfrm flipV="1">
            <a:off x="10172711" y="1597035"/>
            <a:ext cx="465399" cy="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62" name="Прямоугольник 61"/>
              <p:cNvSpPr/>
              <p:nvPr/>
            </p:nvSpPr>
            <p:spPr>
              <a:xfrm>
                <a:off x="10172711" y="1266531"/>
                <a:ext cx="518604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>
                        <m:sSubPr>
                          <m:ctrlPr>
                            <a:rPr lang="en-US" sz="14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4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400" b="0" i="0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62" name="Прямоугольник 6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72711" y="1266531"/>
                <a:ext cx="518604" cy="30777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Freeform 43"/>
          <p:cNvSpPr/>
          <p:nvPr/>
        </p:nvSpPr>
        <p:spPr>
          <a:xfrm>
            <a:off x="10724216" y="2342162"/>
            <a:ext cx="929768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68" name="Freeform 43"/>
          <p:cNvSpPr/>
          <p:nvPr/>
        </p:nvSpPr>
        <p:spPr>
          <a:xfrm>
            <a:off x="9223167" y="2342163"/>
            <a:ext cx="905143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иент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69" name="Straight Arrow Connector 22"/>
          <p:cNvCxnSpPr/>
          <p:nvPr/>
        </p:nvCxnSpPr>
        <p:spPr>
          <a:xfrm flipV="1">
            <a:off x="10172711" y="2623200"/>
            <a:ext cx="465399" cy="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reeform 43"/>
          <p:cNvSpPr/>
          <p:nvPr/>
        </p:nvSpPr>
        <p:spPr>
          <a:xfrm>
            <a:off x="10682511" y="3413937"/>
            <a:ext cx="929768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2" name="Freeform 43"/>
          <p:cNvSpPr/>
          <p:nvPr/>
        </p:nvSpPr>
        <p:spPr>
          <a:xfrm>
            <a:off x="9223167" y="3413938"/>
            <a:ext cx="905143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иент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73" name="Straight Arrow Connector 22"/>
          <p:cNvCxnSpPr/>
          <p:nvPr/>
        </p:nvCxnSpPr>
        <p:spPr>
          <a:xfrm flipV="1">
            <a:off x="10172711" y="3694975"/>
            <a:ext cx="465399" cy="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74" name="Прямоугольник 73"/>
              <p:cNvSpPr/>
              <p:nvPr/>
            </p:nvSpPr>
            <p:spPr>
              <a:xfrm>
                <a:off x="10128310" y="3364471"/>
                <a:ext cx="564449" cy="3125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14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4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  <m:sup>
                          <m:r>
                            <a:rPr lang="en-US" sz="14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−</m:t>
                          </m:r>
                        </m:sup>
                      </m:sSubSup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74" name="Прямоугольник 7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28310" y="3364471"/>
                <a:ext cx="564449" cy="3125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5" name="Прямоугольник 74"/>
              <p:cNvSpPr/>
              <p:nvPr/>
            </p:nvSpPr>
            <p:spPr>
              <a:xfrm>
                <a:off x="10070851" y="2312749"/>
                <a:ext cx="69910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−</m:t>
                      </m:r>
                      <m:r>
                        <a:rPr lang="en-US" sz="14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sSubSup>
                        <m:sSubSupPr>
                          <m:ctrlPr>
                            <a:rPr lang="en-US" sz="14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14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𝐹</m:t>
                          </m:r>
                        </m:e>
                        <m:sub>
                          <m:r>
                            <a:rPr lang="ru-RU" sz="14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0</m:t>
                          </m:r>
                        </m:sub>
                        <m:sup>
                          <m:r>
                            <a:rPr lang="en-US" sz="14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+</m:t>
                          </m:r>
                        </m:sup>
                      </m:sSubSup>
                    </m:oMath>
                  </m:oMathPara>
                </a14:m>
                <a:endParaRPr lang="ru-RU" sz="1400" dirty="0"/>
              </a:p>
            </p:txBody>
          </p:sp>
        </mc:Choice>
        <mc:Fallback>
          <p:sp>
            <p:nvSpPr>
              <p:cNvPr id="75" name="Прямоугольник 7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70851" y="2312749"/>
                <a:ext cx="699101" cy="30777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6" name="Умножение 75"/>
          <p:cNvSpPr/>
          <p:nvPr/>
        </p:nvSpPr>
        <p:spPr>
          <a:xfrm>
            <a:off x="9256234" y="2263204"/>
            <a:ext cx="811669" cy="849512"/>
          </a:xfrm>
          <a:prstGeom prst="mathMultiply">
            <a:avLst/>
          </a:prstGeom>
          <a:solidFill>
            <a:schemeClr val="accent5">
              <a:alpha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3182668" y="2502757"/>
            <a:ext cx="6960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sdrub</a:t>
            </a:r>
            <a:endParaRPr lang="ru-RU" sz="12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1435534" y="2701689"/>
            <a:ext cx="8607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</a:t>
            </a:r>
            <a:r>
              <a:rPr lang="ru-RU" sz="12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цион</a:t>
            </a:r>
            <a:endParaRPr lang="en-US" sz="12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ctr"/>
            <a:r>
              <a:rPr lang="en-US" sz="12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sdrub</a:t>
            </a:r>
            <a:endParaRPr lang="ru-RU" sz="12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80" name="Freeform 43"/>
          <p:cNvSpPr/>
          <p:nvPr/>
        </p:nvSpPr>
        <p:spPr>
          <a:xfrm>
            <a:off x="3938654" y="2870964"/>
            <a:ext cx="905142" cy="630693"/>
          </a:xfrm>
          <a:custGeom>
            <a:avLst/>
            <a:gdLst>
              <a:gd name="connsiteX0" fmla="*/ 0 w 970297"/>
              <a:gd name="connsiteY0" fmla="*/ 105118 h 630693"/>
              <a:gd name="connsiteX1" fmla="*/ 105118 w 970297"/>
              <a:gd name="connsiteY1" fmla="*/ 0 h 630693"/>
              <a:gd name="connsiteX2" fmla="*/ 865179 w 970297"/>
              <a:gd name="connsiteY2" fmla="*/ 0 h 630693"/>
              <a:gd name="connsiteX3" fmla="*/ 970297 w 970297"/>
              <a:gd name="connsiteY3" fmla="*/ 105118 h 630693"/>
              <a:gd name="connsiteX4" fmla="*/ 970297 w 970297"/>
              <a:gd name="connsiteY4" fmla="*/ 525575 h 630693"/>
              <a:gd name="connsiteX5" fmla="*/ 865179 w 970297"/>
              <a:gd name="connsiteY5" fmla="*/ 630693 h 630693"/>
              <a:gd name="connsiteX6" fmla="*/ 105118 w 970297"/>
              <a:gd name="connsiteY6" fmla="*/ 630693 h 630693"/>
              <a:gd name="connsiteX7" fmla="*/ 0 w 970297"/>
              <a:gd name="connsiteY7" fmla="*/ 525575 h 630693"/>
              <a:gd name="connsiteX8" fmla="*/ 0 w 970297"/>
              <a:gd name="connsiteY8" fmla="*/ 105118 h 630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0297" h="630693">
                <a:moveTo>
                  <a:pt x="0" y="105118"/>
                </a:moveTo>
                <a:cubicBezTo>
                  <a:pt x="0" y="47063"/>
                  <a:pt x="47063" y="0"/>
                  <a:pt x="105118" y="0"/>
                </a:cubicBezTo>
                <a:lnTo>
                  <a:pt x="865179" y="0"/>
                </a:lnTo>
                <a:cubicBezTo>
                  <a:pt x="923234" y="0"/>
                  <a:pt x="970297" y="47063"/>
                  <a:pt x="970297" y="105118"/>
                </a:cubicBezTo>
                <a:lnTo>
                  <a:pt x="970297" y="525575"/>
                </a:lnTo>
                <a:cubicBezTo>
                  <a:pt x="970297" y="583630"/>
                  <a:pt x="923234" y="630693"/>
                  <a:pt x="865179" y="630693"/>
                </a:cubicBezTo>
                <a:lnTo>
                  <a:pt x="105118" y="630693"/>
                </a:lnTo>
                <a:cubicBezTo>
                  <a:pt x="47063" y="630693"/>
                  <a:pt x="0" y="583630"/>
                  <a:pt x="0" y="525575"/>
                </a:cubicBezTo>
                <a:lnTo>
                  <a:pt x="0" y="105118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4128" tIns="84128" rIns="84128" bIns="8412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ынок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smtClean="0">
                <a:solidFill>
                  <a:schemeClr val="bg1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M</a:t>
            </a:r>
            <a:endParaRPr lang="en-US" sz="1600" b="1" dirty="0">
              <a:solidFill>
                <a:schemeClr val="bg1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3270744" y="1843571"/>
            <a:ext cx="5389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хедж</a:t>
            </a:r>
            <a:endParaRPr lang="ru-RU" sz="1200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1468576" y="1984355"/>
            <a:ext cx="8354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акт</a:t>
            </a:r>
            <a:endParaRPr lang="ru-RU" sz="1200" dirty="0"/>
          </a:p>
        </p:txBody>
      </p:sp>
      <p:cxnSp>
        <p:nvCxnSpPr>
          <p:cNvPr id="84" name="Straight Arrow Connector 22"/>
          <p:cNvCxnSpPr/>
          <p:nvPr/>
        </p:nvCxnSpPr>
        <p:spPr>
          <a:xfrm>
            <a:off x="3248837" y="2822395"/>
            <a:ext cx="555214" cy="33954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/>
          <p:cNvSpPr/>
          <p:nvPr/>
        </p:nvSpPr>
        <p:spPr>
          <a:xfrm>
            <a:off x="2802893" y="3112775"/>
            <a:ext cx="14746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unding</a:t>
            </a:r>
            <a:endParaRPr lang="ru-RU" sz="12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88" name="Умножение 87"/>
          <p:cNvSpPr/>
          <p:nvPr/>
        </p:nvSpPr>
        <p:spPr>
          <a:xfrm>
            <a:off x="10754586" y="3309567"/>
            <a:ext cx="811669" cy="849512"/>
          </a:xfrm>
          <a:prstGeom prst="mathMultiply">
            <a:avLst/>
          </a:prstGeom>
          <a:solidFill>
            <a:schemeClr val="accent5">
              <a:alpha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9" name="Двойные фигурные скобки 88"/>
          <p:cNvSpPr/>
          <p:nvPr/>
        </p:nvSpPr>
        <p:spPr>
          <a:xfrm>
            <a:off x="8792897" y="1236590"/>
            <a:ext cx="3277184" cy="2911264"/>
          </a:xfrm>
          <a:prstGeom prst="bracePair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69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36652"/>
            <a:ext cx="10515600" cy="438582"/>
          </a:xfrm>
        </p:spPr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волюция </a:t>
            </a:r>
            <a:r>
              <a:rPr lang="ru-RU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1015567" y="1452267"/>
            <a:ext cx="9370292" cy="4630034"/>
          </a:xfrm>
          <a:prstGeom prst="straightConnector1">
            <a:avLst/>
          </a:prstGeom>
          <a:ln w="825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09793" y="5118868"/>
            <a:ext cx="15446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вропейский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1600" dirty="0" smtClean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54461" y="5791607"/>
            <a:ext cx="245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ормула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лэка-Шоулса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60897" y="2343680"/>
            <a:ext cx="168100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рьерный </a:t>
            </a:r>
          </a:p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1600" dirty="0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40556" y="2929250"/>
            <a:ext cx="24309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 Carlo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57009" y="3246085"/>
            <a:ext cx="18088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мериканский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44946" y="4053643"/>
            <a:ext cx="9493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евь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59802" y="1459092"/>
            <a:ext cx="286054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ранзакционные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здержк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45042" y="6122590"/>
            <a:ext cx="245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ормула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шелье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91045" y="3786861"/>
            <a:ext cx="30772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конечных разностей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799442" y="4799648"/>
            <a:ext cx="1321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onte Carlo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240323" y="4211529"/>
            <a:ext cx="162678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зиатский </a:t>
            </a:r>
          </a:p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2000" dirty="0" smtClean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698055" y="1983934"/>
            <a:ext cx="24309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inforcement learning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439128" y="5974579"/>
            <a:ext cx="114530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250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Модел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72129" y="1602349"/>
            <a:ext cx="213043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струменты</a:t>
            </a:r>
          </a:p>
        </p:txBody>
      </p:sp>
      <p:sp>
        <p:nvSpPr>
          <p:cNvPr id="24" name="Блок-схема: память с посл. доступом 23"/>
          <p:cNvSpPr/>
          <p:nvPr/>
        </p:nvSpPr>
        <p:spPr>
          <a:xfrm>
            <a:off x="7515916" y="2674909"/>
            <a:ext cx="2755625" cy="761785"/>
          </a:xfrm>
          <a:prstGeom prst="flowChartMagneticTape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246512" y="3181899"/>
            <a:ext cx="125616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учшая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ктика</a:t>
            </a:r>
          </a:p>
        </p:txBody>
      </p:sp>
      <p:sp>
        <p:nvSpPr>
          <p:cNvPr id="26" name="Выгнутая вверх стрелка 25"/>
          <p:cNvSpPr/>
          <p:nvPr/>
        </p:nvSpPr>
        <p:spPr>
          <a:xfrm rot="19789769">
            <a:off x="2881231" y="3185685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Выгнутая вверх стрелка 26"/>
          <p:cNvSpPr/>
          <p:nvPr/>
        </p:nvSpPr>
        <p:spPr>
          <a:xfrm rot="19789769">
            <a:off x="955014" y="4128882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" name="Выгнутая вверх стрелка 27"/>
          <p:cNvSpPr/>
          <p:nvPr/>
        </p:nvSpPr>
        <p:spPr>
          <a:xfrm rot="19789769">
            <a:off x="4999670" y="2162427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Выгнутая вверх стрелка 28"/>
          <p:cNvSpPr/>
          <p:nvPr/>
        </p:nvSpPr>
        <p:spPr>
          <a:xfrm rot="19789769">
            <a:off x="6898758" y="1327588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33089" y="3460649"/>
            <a:ext cx="132119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th-</a:t>
            </a:r>
            <a:endParaRPr lang="ru-RU" dirty="0">
              <a:solidFill>
                <a:schemeClr val="accent3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ctr"/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ependency</a:t>
            </a:r>
            <a:endParaRPr lang="ru-RU" dirty="0">
              <a:solidFill>
                <a:schemeClr val="accent3">
                  <a:lumMod val="7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349556" y="2547034"/>
            <a:ext cx="13551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нее </a:t>
            </a:r>
          </a:p>
          <a:p>
            <a:pPr algn="ctr"/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полнение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065582" y="1698936"/>
            <a:ext cx="145103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клятие </a:t>
            </a:r>
          </a:p>
          <a:p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змерност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840109" y="1011129"/>
            <a:ext cx="152798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тимальное </a:t>
            </a:r>
          </a:p>
          <a:p>
            <a:pPr algn="ctr"/>
            <a:r>
              <a:rPr lang="ru-RU" dirty="0">
                <a:solidFill>
                  <a:schemeClr val="accent3">
                    <a:lumMod val="7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пр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06048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pPr lvl="0">
              <a:defRPr/>
            </a:pP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блема применения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а Монте-Карло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75681" y="1218499"/>
            <a:ext cx="3089495" cy="4001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Aft>
                <a:spcPts val="127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оимость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а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= 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 rot="5400000">
            <a:off x="5818564" y="2031816"/>
            <a:ext cx="410702" cy="469497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50572" y="2420783"/>
            <a:ext cx="4812984" cy="4001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андартный подход – </a:t>
            </a:r>
            <a:r>
              <a:rPr lang="ru-RU" sz="20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</a:t>
            </a:r>
            <a:r>
              <a:rPr lang="ru-RU" sz="20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нте-Карло</a:t>
            </a:r>
            <a:endParaRPr lang="ru-RU" sz="20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694450" y="3472988"/>
                <a:ext cx="4468364" cy="31406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ru-RU" sz="20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цион с детерминированными 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ru-RU" sz="20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атами выплат</a:t>
                </a:r>
                <a:endParaRPr lang="ru-RU" sz="1600" b="1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Н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ет проблем, так как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 каждой симуляции рынка однозначно определяется выплата по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контракту</a:t>
                </a:r>
              </a:p>
              <a:p>
                <a:pPr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Цена = среднее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 этим выплатам на каждой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имуляции</a:t>
                </a:r>
                <a:endPara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(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𝑗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</m:t>
                      </m:r>
                      <m:f>
                        <m:f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den>
                      </m:f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𝑗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sup>
                        <m:e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𝐹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450" y="3472988"/>
                <a:ext cx="4468364" cy="3140668"/>
              </a:xfrm>
              <a:prstGeom prst="rect">
                <a:avLst/>
              </a:prstGeom>
              <a:blipFill>
                <a:blip r:embed="rId3"/>
                <a:stretch>
                  <a:fillRect l="-819" t="-1165" r="-95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рямоугольник 9"/>
              <p:cNvSpPr/>
              <p:nvPr/>
            </p:nvSpPr>
            <p:spPr>
              <a:xfrm>
                <a:off x="6970030" y="3472988"/>
                <a:ext cx="4501525" cy="286899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ru-RU" sz="20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цион с ранней экспирацией</a:t>
                </a:r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: </a:t>
                </a:r>
                <a:endParaRPr lang="ru-RU" sz="20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600"/>
                  </a:spcAft>
                </a:pPr>
                <a:endPara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облема, так как симуляция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днозначно не задают выплаты, принятие решения об экспирации зависит от стоимости дериватива в следующий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момент:</a:t>
                </a: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 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𝑎𝑐𝑡𝑖𝑜𝑛</m:t>
                          </m:r>
                        </m:e>
                      </m:d>
                    </m:oMath>
                  </m:oMathPara>
                </a14:m>
                <a:endParaRPr lang="en-US" sz="16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𝑎𝑐𝑡𝑖𝑜𝑛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∼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𝑡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∼{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𝑖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}</m:t>
                      </m:r>
                    </m:oMath>
                  </m:oMathPara>
                </a14:m>
                <a:endParaRPr lang="en-US" sz="1600" b="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sz="160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⁡(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sz="160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),</m:t>
                      </m:r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𝑃𝑎𝑦𝑂𝑓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10" name="Прямоугольник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70030" y="3472988"/>
                <a:ext cx="4501525" cy="2868991"/>
              </a:xfrm>
              <a:prstGeom prst="rect">
                <a:avLst/>
              </a:prstGeom>
              <a:blipFill>
                <a:blip r:embed="rId4"/>
                <a:stretch>
                  <a:fillRect t="-127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1" name="Group 236"/>
          <p:cNvGrpSpPr>
            <a:grpSpLocks noChangeAspect="1"/>
          </p:cNvGrpSpPr>
          <p:nvPr/>
        </p:nvGrpSpPr>
        <p:grpSpPr bwMode="auto">
          <a:xfrm>
            <a:off x="4746378" y="3542929"/>
            <a:ext cx="338800" cy="360000"/>
            <a:chOff x="13511" y="6241"/>
            <a:chExt cx="847" cy="900"/>
          </a:xfrm>
          <a:solidFill>
            <a:schemeClr val="tx1"/>
          </a:solidFill>
        </p:grpSpPr>
        <p:sp>
          <p:nvSpPr>
            <p:cNvPr id="34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7" name="Group 234"/>
          <p:cNvGrpSpPr>
            <a:grpSpLocks noChangeAspect="1"/>
          </p:cNvGrpSpPr>
          <p:nvPr/>
        </p:nvGrpSpPr>
        <p:grpSpPr bwMode="auto">
          <a:xfrm>
            <a:off x="7113932" y="3512129"/>
            <a:ext cx="363190" cy="360000"/>
            <a:chOff x="13436" y="6133"/>
            <a:chExt cx="911" cy="903"/>
          </a:xfrm>
          <a:solidFill>
            <a:srgbClr val="EA3B51"/>
          </a:solidFill>
        </p:grpSpPr>
        <p:sp>
          <p:nvSpPr>
            <p:cNvPr id="3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3" name="Стрелка вправо 42"/>
          <p:cNvSpPr/>
          <p:nvPr/>
        </p:nvSpPr>
        <p:spPr>
          <a:xfrm rot="7502952">
            <a:off x="4858158" y="2950333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4" name="Стрелка вправо 43"/>
          <p:cNvSpPr/>
          <p:nvPr/>
        </p:nvSpPr>
        <p:spPr>
          <a:xfrm rot="14097048" flipH="1">
            <a:off x="6826187" y="2954093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405781" y="1064611"/>
            <a:ext cx="34979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70"/>
              </a:spcAft>
            </a:pP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атематическое ожидание сложной случайной величины 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 6"/>
              <p:cNvSpPr/>
              <p:nvPr/>
            </p:nvSpPr>
            <p:spPr>
              <a:xfrm>
                <a:off x="7053207" y="989731"/>
                <a:ext cx="4532241" cy="79643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0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r>
                        <a:rPr lang="en-US" sz="20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sSubSup>
                        <m:sSubSupPr>
                          <m:ctrlP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sub>
                        <m:sup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𝑄</m:t>
                          </m:r>
                        </m:sup>
                      </m:sSubSup>
                      <m:d>
                        <m:dPr>
                          <m:begChr m:val="["/>
                          <m:endChr m:val="]"/>
                          <m:ctrlPr>
                            <a:rPr lang="en-US" sz="20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𝐹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sz="20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ru-RU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𝜔</m:t>
                    </m:r>
                  </m:oMath>
                </a14:m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стохастический процесс </a:t>
                </a:r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иск-факторов</a:t>
                </a:r>
                <a:endParaRPr lang="en-US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3207" y="989731"/>
                <a:ext cx="4532241" cy="796436"/>
              </a:xfrm>
              <a:prstGeom prst="rect">
                <a:avLst/>
              </a:prstGeom>
              <a:blipFill>
                <a:blip r:embed="rId5"/>
                <a:stretch>
                  <a:fillRect b="-114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2041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7" name="Прямая соединительная линия 166"/>
          <p:cNvCxnSpPr/>
          <p:nvPr/>
        </p:nvCxnSpPr>
        <p:spPr>
          <a:xfrm>
            <a:off x="6634340" y="4125528"/>
            <a:ext cx="858902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>
            <a:off x="5534889" y="2948332"/>
            <a:ext cx="1073554" cy="118467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9" name="Стрелка углом 158"/>
          <p:cNvSpPr/>
          <p:nvPr/>
        </p:nvSpPr>
        <p:spPr>
          <a:xfrm rot="16200000" flipH="1">
            <a:off x="7653494" y="1629652"/>
            <a:ext cx="746585" cy="1518123"/>
          </a:xfrm>
          <a:prstGeom prst="bentArrow">
            <a:avLst>
              <a:gd name="adj1" fmla="val 11057"/>
              <a:gd name="adj2" fmla="val 14124"/>
              <a:gd name="adj3" fmla="val 14961"/>
              <a:gd name="adj4" fmla="val 43750"/>
            </a:avLst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7" name="Стрелка углом 156"/>
          <p:cNvSpPr/>
          <p:nvPr/>
        </p:nvSpPr>
        <p:spPr>
          <a:xfrm rot="5400000">
            <a:off x="9583388" y="1629652"/>
            <a:ext cx="746585" cy="1518123"/>
          </a:xfrm>
          <a:prstGeom prst="bentArrow">
            <a:avLst>
              <a:gd name="adj1" fmla="val 11057"/>
              <a:gd name="adj2" fmla="val 14124"/>
              <a:gd name="adj3" fmla="val 14961"/>
              <a:gd name="adj4" fmla="val 43750"/>
            </a:avLst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pPr lvl="0">
              <a:defRPr/>
            </a:pP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мериканский Монте-Карло</a:t>
            </a:r>
          </a:p>
        </p:txBody>
      </p:sp>
      <p:cxnSp>
        <p:nvCxnSpPr>
          <p:cNvPr id="8" name="Прямая со стрелкой 7"/>
          <p:cNvCxnSpPr/>
          <p:nvPr/>
        </p:nvCxnSpPr>
        <p:spPr>
          <a:xfrm flipV="1">
            <a:off x="7289340" y="379931"/>
            <a:ext cx="0" cy="1767296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7176253" y="2015419"/>
            <a:ext cx="2255527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рямоугольник 9"/>
              <p:cNvSpPr/>
              <p:nvPr/>
            </p:nvSpPr>
            <p:spPr>
              <a:xfrm>
                <a:off x="6887549" y="344442"/>
                <a:ext cx="4157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0" name="Прямоугольник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87549" y="344442"/>
                <a:ext cx="41575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Прямоугольник 10"/>
              <p:cNvSpPr/>
              <p:nvPr/>
            </p:nvSpPr>
            <p:spPr>
              <a:xfrm>
                <a:off x="9376614" y="1841676"/>
                <a:ext cx="34099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Прямоугольник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76614" y="1841676"/>
                <a:ext cx="340991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" name="Прямая соединительная линия 12"/>
          <p:cNvCxnSpPr/>
          <p:nvPr/>
        </p:nvCxnSpPr>
        <p:spPr>
          <a:xfrm>
            <a:off x="8776873" y="529108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9191029" y="296333"/>
            <a:ext cx="10092" cy="191601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304016" y="529107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7838578" y="529106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V="1">
            <a:off x="9578559" y="2536407"/>
            <a:ext cx="0" cy="1767296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9465472" y="4171895"/>
            <a:ext cx="2255527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Прямоугольник 18"/>
              <p:cNvSpPr/>
              <p:nvPr/>
            </p:nvSpPr>
            <p:spPr>
              <a:xfrm>
                <a:off x="9154536" y="2500918"/>
                <a:ext cx="48462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9" name="Прямоугольник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4536" y="2500918"/>
                <a:ext cx="484620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Прямоугольник 19"/>
              <p:cNvSpPr/>
              <p:nvPr/>
            </p:nvSpPr>
            <p:spPr>
              <a:xfrm>
                <a:off x="11233323" y="4171895"/>
                <a:ext cx="599588" cy="6155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</m:sSub>
                    </m:oMath>
                  </m:oMathPara>
                </a14:m>
                <a:endParaRPr lang="en-US" sz="1600" b="0" dirty="0" smtClean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20" name="Прямоугольник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33323" y="4171895"/>
                <a:ext cx="599588" cy="61555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Прямая соединительная линия 21"/>
          <p:cNvCxnSpPr/>
          <p:nvPr/>
        </p:nvCxnSpPr>
        <p:spPr>
          <a:xfrm>
            <a:off x="9583823" y="2987219"/>
            <a:ext cx="1073554" cy="118467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0634193" y="4171895"/>
            <a:ext cx="858902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V="1">
            <a:off x="5543047" y="2500576"/>
            <a:ext cx="0" cy="1767296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5461681" y="4136778"/>
            <a:ext cx="2255527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8789388" y="1512293"/>
            <a:ext cx="401641" cy="17792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Овал 39"/>
          <p:cNvSpPr/>
          <p:nvPr/>
        </p:nvSpPr>
        <p:spPr>
          <a:xfrm>
            <a:off x="5766036" y="3025803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5766036" y="3389586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6570669" y="4073615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6550211" y="3856748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7407461" y="4086493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Прямоугольник 53"/>
              <p:cNvSpPr/>
              <p:nvPr/>
            </p:nvSpPr>
            <p:spPr>
              <a:xfrm>
                <a:off x="7025269" y="4196174"/>
                <a:ext cx="898527" cy="6155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𝑃𝑎𝑦𝑂𝑓𝑓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ru-RU" sz="1600" b="0" i="1" smtClean="0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600" b="0" dirty="0" smtClean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54" name="Прямоугольник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5269" y="4196174"/>
                <a:ext cx="898527" cy="615553"/>
              </a:xfrm>
              <a:prstGeom prst="rect">
                <a:avLst/>
              </a:prstGeom>
              <a:blipFill>
                <a:blip r:embed="rId7"/>
                <a:stretch>
                  <a:fillRect r="-364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Полилиния 57"/>
          <p:cNvSpPr/>
          <p:nvPr/>
        </p:nvSpPr>
        <p:spPr>
          <a:xfrm>
            <a:off x="5570594" y="3137023"/>
            <a:ext cx="2628900" cy="977900"/>
          </a:xfrm>
          <a:custGeom>
            <a:avLst/>
            <a:gdLst>
              <a:gd name="connsiteX0" fmla="*/ 0 w 2628900"/>
              <a:gd name="connsiteY0" fmla="*/ 0 h 977900"/>
              <a:gd name="connsiteX1" fmla="*/ 1009650 w 2628900"/>
              <a:gd name="connsiteY1" fmla="*/ 723900 h 977900"/>
              <a:gd name="connsiteX2" fmla="*/ 2628900 w 2628900"/>
              <a:gd name="connsiteY2" fmla="*/ 977900 h 97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8900" h="977900">
                <a:moveTo>
                  <a:pt x="0" y="0"/>
                </a:moveTo>
                <a:cubicBezTo>
                  <a:pt x="285750" y="280458"/>
                  <a:pt x="571500" y="560917"/>
                  <a:pt x="1009650" y="723900"/>
                </a:cubicBezTo>
                <a:cubicBezTo>
                  <a:pt x="1447800" y="886883"/>
                  <a:pt x="2038350" y="932391"/>
                  <a:pt x="2628900" y="97790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олилиния 59"/>
          <p:cNvSpPr/>
          <p:nvPr/>
        </p:nvSpPr>
        <p:spPr>
          <a:xfrm>
            <a:off x="5574794" y="2901705"/>
            <a:ext cx="2063750" cy="1199088"/>
          </a:xfrm>
          <a:custGeom>
            <a:avLst/>
            <a:gdLst>
              <a:gd name="connsiteX0" fmla="*/ 0 w 2063750"/>
              <a:gd name="connsiteY0" fmla="*/ 0 h 1199088"/>
              <a:gd name="connsiteX1" fmla="*/ 1016000 w 2063750"/>
              <a:gd name="connsiteY1" fmla="*/ 1123950 h 1199088"/>
              <a:gd name="connsiteX2" fmla="*/ 2063750 w 2063750"/>
              <a:gd name="connsiteY2" fmla="*/ 1003300 h 119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63750" h="1199088">
                <a:moveTo>
                  <a:pt x="0" y="0"/>
                </a:moveTo>
                <a:cubicBezTo>
                  <a:pt x="336021" y="478366"/>
                  <a:pt x="672042" y="956733"/>
                  <a:pt x="1016000" y="1123950"/>
                </a:cubicBezTo>
                <a:cubicBezTo>
                  <a:pt x="1359958" y="1291167"/>
                  <a:pt x="1711854" y="1147233"/>
                  <a:pt x="2063750" y="1003300"/>
                </a:cubicBez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5838036" y="3271506"/>
            <a:ext cx="72000" cy="72000"/>
          </a:xfrm>
          <a:prstGeom prst="ellipse">
            <a:avLst/>
          </a:prstGeom>
          <a:solidFill>
            <a:schemeClr val="accent5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6197132" y="3644770"/>
            <a:ext cx="72000" cy="72000"/>
          </a:xfrm>
          <a:prstGeom prst="ellipse">
            <a:avLst/>
          </a:prstGeom>
          <a:solidFill>
            <a:schemeClr val="accent4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3" name="Прямоугольник 62"/>
              <p:cNvSpPr/>
              <p:nvPr/>
            </p:nvSpPr>
            <p:spPr>
              <a:xfrm>
                <a:off x="8108005" y="3893137"/>
                <a:ext cx="1053558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63" name="Прямоугольник 6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08005" y="3893137"/>
                <a:ext cx="1053558" cy="338554"/>
              </a:xfrm>
              <a:prstGeom prst="rect">
                <a:avLst/>
              </a:prstGeom>
              <a:blipFill>
                <a:blip r:embed="rId8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/>
              <p:cNvSpPr/>
              <p:nvPr/>
            </p:nvSpPr>
            <p:spPr>
              <a:xfrm>
                <a:off x="7550696" y="3635667"/>
                <a:ext cx="1053557" cy="3430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</m:acc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64" name="Прямоугольник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0696" y="3635667"/>
                <a:ext cx="1053557" cy="343043"/>
              </a:xfrm>
              <a:prstGeom prst="rect">
                <a:avLst/>
              </a:prstGeom>
              <a:blipFill>
                <a:blip r:embed="rId9"/>
                <a:stretch>
                  <a:fillRect t="-5263" b="-701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0" name="Прямая со стрелкой 69"/>
          <p:cNvCxnSpPr/>
          <p:nvPr/>
        </p:nvCxnSpPr>
        <p:spPr>
          <a:xfrm flipV="1">
            <a:off x="7859333" y="4764825"/>
            <a:ext cx="0" cy="1767296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7746246" y="6400313"/>
            <a:ext cx="2255527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Прямоугольник 71"/>
              <p:cNvSpPr/>
              <p:nvPr/>
            </p:nvSpPr>
            <p:spPr>
              <a:xfrm>
                <a:off x="7457542" y="4729336"/>
                <a:ext cx="4157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𝜔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72" name="Прямоугольник 7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7542" y="4729336"/>
                <a:ext cx="415755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Прямоугольник 72"/>
              <p:cNvSpPr/>
              <p:nvPr/>
            </p:nvSpPr>
            <p:spPr>
              <a:xfrm>
                <a:off x="9773869" y="6400313"/>
                <a:ext cx="34099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73" name="Прямоугольник 7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73869" y="6400313"/>
                <a:ext cx="340991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4" name="Прямая соединительная линия 73"/>
          <p:cNvCxnSpPr/>
          <p:nvPr/>
        </p:nvCxnSpPr>
        <p:spPr>
          <a:xfrm>
            <a:off x="9346866" y="4914002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9771114" y="4926261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8874009" y="4914001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8408571" y="4914000"/>
            <a:ext cx="0" cy="167097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 flipH="1">
            <a:off x="7671562" y="5594377"/>
            <a:ext cx="2275064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олилиния 82"/>
          <p:cNvSpPr/>
          <p:nvPr/>
        </p:nvSpPr>
        <p:spPr>
          <a:xfrm>
            <a:off x="7864235" y="5625670"/>
            <a:ext cx="1917700" cy="647700"/>
          </a:xfrm>
          <a:custGeom>
            <a:avLst/>
            <a:gdLst>
              <a:gd name="connsiteX0" fmla="*/ 0 w 1917700"/>
              <a:gd name="connsiteY0" fmla="*/ 647700 h 647700"/>
              <a:gd name="connsiteX1" fmla="*/ 1574800 w 1917700"/>
              <a:gd name="connsiteY1" fmla="*/ 457200 h 647700"/>
              <a:gd name="connsiteX2" fmla="*/ 1917700 w 1917700"/>
              <a:gd name="connsiteY2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17700" h="647700">
                <a:moveTo>
                  <a:pt x="0" y="647700"/>
                </a:moveTo>
                <a:cubicBezTo>
                  <a:pt x="627591" y="606425"/>
                  <a:pt x="1255183" y="565150"/>
                  <a:pt x="1574800" y="457200"/>
                </a:cubicBezTo>
                <a:cubicBezTo>
                  <a:pt x="1894417" y="349250"/>
                  <a:pt x="1860550" y="82550"/>
                  <a:pt x="1917700" y="0"/>
                </a:cubicBezTo>
              </a:path>
            </a:pathLst>
          </a:custGeom>
          <a:ln>
            <a:solidFill>
              <a:schemeClr val="accent4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7" name="Прямая соединительная линия 86"/>
          <p:cNvCxnSpPr>
            <a:endCxn id="83" idx="2"/>
          </p:cNvCxnSpPr>
          <p:nvPr/>
        </p:nvCxnSpPr>
        <p:spPr>
          <a:xfrm flipV="1">
            <a:off x="9346866" y="5625670"/>
            <a:ext cx="435069" cy="647700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 flipH="1" flipV="1">
            <a:off x="8881094" y="6064530"/>
            <a:ext cx="465771" cy="197964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8403670" y="6065570"/>
            <a:ext cx="477425" cy="239092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 flipH="1">
            <a:off x="7853340" y="6293495"/>
            <a:ext cx="582217" cy="11167"/>
          </a:xfrm>
          <a:prstGeom prst="line">
            <a:avLst/>
          </a:pr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7" name="Прямоугольник 96"/>
              <p:cNvSpPr/>
              <p:nvPr/>
            </p:nvSpPr>
            <p:spPr>
              <a:xfrm>
                <a:off x="7087796" y="5823134"/>
                <a:ext cx="65845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97" name="Прямоугольник 9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7796" y="5823134"/>
                <a:ext cx="658450" cy="338554"/>
              </a:xfrm>
              <a:prstGeom prst="rect">
                <a:avLst/>
              </a:prstGeom>
              <a:blipFill>
                <a:blip r:embed="rId12"/>
                <a:stretch>
                  <a:fillRect b="-714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Прямоугольник 98"/>
              <p:cNvSpPr/>
              <p:nvPr/>
            </p:nvSpPr>
            <p:spPr>
              <a:xfrm>
                <a:off x="7300376" y="6319062"/>
                <a:ext cx="60715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̃"/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𝛾</m:t>
                          </m:r>
                        </m:e>
                      </m:acc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99" name="Прямоугольник 9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0376" y="6319062"/>
                <a:ext cx="607153" cy="338554"/>
              </a:xfrm>
              <a:prstGeom prst="rect">
                <a:avLst/>
              </a:prstGeom>
              <a:blipFill>
                <a:blip r:embed="rId13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1" name="Прямая соединительная линия 100"/>
          <p:cNvCxnSpPr>
            <a:stCxn id="97" idx="3"/>
          </p:cNvCxnSpPr>
          <p:nvPr/>
        </p:nvCxnSpPr>
        <p:spPr>
          <a:xfrm>
            <a:off x="7746246" y="5992411"/>
            <a:ext cx="554673" cy="2250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/>
          <p:nvPr/>
        </p:nvCxnSpPr>
        <p:spPr>
          <a:xfrm flipV="1">
            <a:off x="7897492" y="6304662"/>
            <a:ext cx="363633" cy="13163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7129299" y="1198858"/>
            <a:ext cx="2275064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 flipV="1">
            <a:off x="8788177" y="1754048"/>
            <a:ext cx="401641" cy="17792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V="1">
            <a:off x="8780956" y="970208"/>
            <a:ext cx="401641" cy="17792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flipH="1" flipV="1">
            <a:off x="8795979" y="1189100"/>
            <a:ext cx="401641" cy="17792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 flipV="1">
            <a:off x="8774678" y="542480"/>
            <a:ext cx="401641" cy="17792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1" name="Прямоугольник 110"/>
              <p:cNvSpPr/>
              <p:nvPr/>
            </p:nvSpPr>
            <p:spPr>
              <a:xfrm>
                <a:off x="5570594" y="2383304"/>
                <a:ext cx="730072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111" name="Прямоугольник 1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0594" y="2383304"/>
                <a:ext cx="730072" cy="33855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Прямоугольник 111"/>
              <p:cNvSpPr/>
              <p:nvPr/>
            </p:nvSpPr>
            <p:spPr>
              <a:xfrm>
                <a:off x="291834" y="1114797"/>
                <a:ext cx="5474202" cy="544258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sz="16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тимальные даты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(граница области экспирации) 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ределяются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иближенно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егрессией </a:t>
                </a:r>
                <a:endPara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лучаем</a:t>
                </a:r>
                <a:r>
                  <a:rPr lang="ru-RU" sz="16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опцион </a:t>
                </a:r>
                <a:r>
                  <a:rPr lang="ru-RU" sz="1600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 детерминированными датами </a:t>
                </a:r>
                <a:r>
                  <a:rPr lang="ru-RU" sz="16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ыплат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и используем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тандартный Монте-Карло</a:t>
                </a:r>
              </a:p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sz="1600" b="1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Утверждение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: процедура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хорошо сходиться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к истинному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значению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127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ичина: если 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cs typeface="SB Sans Display Light" panose="020B030304050402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acc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𝛾</m:t>
                        </m:r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 </m:t>
                        </m:r>
                      </m:e>
                    </m:acc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−</m:t>
                    </m:r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𝛾</m:t>
                    </m:r>
                    <m:r>
                      <a:rPr lang="ru-RU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∼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𝜀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то</a:t>
                </a:r>
                <a:endPara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1270"/>
                  </a:spcAft>
                </a:pPr>
                <a14:m>
                  <m:oMath xmlns:m="http://schemas.openxmlformats.org/officeDocument/2006/math">
                    <m:r>
                      <a:rPr lang="en-US" sz="1600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𝑉</m:t>
                    </m:r>
                    <m:d>
                      <m:d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𝛾</m:t>
                        </m:r>
                      </m:e>
                    </m:d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func>
                      <m:func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sz="1600" b="0" i="0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sup</m:t>
                            </m:r>
                          </m:e>
                          <m:lim>
                            <m:acc>
                              <m:accPr>
                                <m:chr m:val="̃"/>
                                <m:ctrlPr>
                                  <a:rPr lang="en-US" sz="1600" b="0" i="1" dirty="0" smtClean="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</m:ctrlPr>
                              </m:accPr>
                              <m:e>
                                <m:r>
                                  <a:rPr lang="en-US" sz="1600" b="1" i="1" dirty="0" smtClean="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  <m:t>𝜸</m:t>
                                </m:r>
                              </m:e>
                            </m:acc>
                          </m:lim>
                        </m:limLow>
                      </m:fName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(</m:t>
                        </m:r>
                        <m:acc>
                          <m:accPr>
                            <m:chr m:val="̃"/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acc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𝛾</m:t>
                            </m:r>
                          </m:e>
                        </m:acc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)</m:t>
                        </m:r>
                      </m:e>
                    </m:func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 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𝛾</m:t>
                              </m:r>
                            </m:e>
                          </m:acc>
                        </m:e>
                      </m:d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−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𝛾</m:t>
                          </m:r>
                        </m:e>
                      </m:d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𝜕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𝑉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𝜕𝛾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𝛾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</m:e>
                          </m:acc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−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𝛾</m:t>
                          </m:r>
                        </m:e>
                      </m:d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+…∼</m:t>
                      </m:r>
                      <m:sSup>
                        <m:sSup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p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𝜀</m:t>
                          </m:r>
                        </m:e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2</m:t>
                          </m:r>
                        </m:sup>
                      </m:sSup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</m:t>
                      </m:r>
                    </m:oMath>
                  </m:oMathPara>
                </a14:m>
                <a:endPara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здесь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ru-RU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𝜔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 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-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иск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-фактор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𝐹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ут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цион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ru-RU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𝜔</m:t>
                    </m:r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истинное значение 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 dirty="0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en-US" sz="160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acc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𝑉</m:t>
                            </m:r>
                          </m:e>
                        </m:acc>
                      </m:e>
                      <m:sub>
                        <m:r>
                          <a:rPr lang="en-US" sz="1600" b="0" i="1" dirty="0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sub>
                    </m:sSub>
                    <m:r>
                      <a:rPr lang="en-US" sz="1600" b="0" i="1" dirty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 b="0" i="1" dirty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𝜔</m:t>
                    </m:r>
                    <m:r>
                      <a:rPr lang="en-US" sz="1600" b="0" i="1" dirty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егрессия</a:t>
                </a:r>
                <a:endPara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𝛾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 smtClean="0"/>
                  <a:t>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птимальная граница экспирации</a:t>
                </a:r>
              </a:p>
              <a:p>
                <a:pPr lvl="1"/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acc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𝛾</m:t>
                        </m:r>
                      </m:e>
                    </m:acc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𝑡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приближенная граница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экспирации</a:t>
                </a:r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112" name="Прямоугольник 1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834" y="1114797"/>
                <a:ext cx="5474202" cy="5442580"/>
              </a:xfrm>
              <a:prstGeom prst="rect">
                <a:avLst/>
              </a:prstGeom>
              <a:blipFill>
                <a:blip r:embed="rId15"/>
                <a:stretch>
                  <a:fillRect l="-668" t="-336" b="-44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3" name="Прямая соединительная линия 112"/>
          <p:cNvCxnSpPr/>
          <p:nvPr/>
        </p:nvCxnSpPr>
        <p:spPr>
          <a:xfrm flipV="1">
            <a:off x="8312025" y="1186729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8302994" y="1467955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8299576" y="1539232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8301867" y="927815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8298803" y="516572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V="1">
            <a:off x="7820045" y="511434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 flipV="1">
            <a:off x="7356333" y="721303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 flipV="1">
            <a:off x="7840026" y="933164"/>
            <a:ext cx="454711" cy="25298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7835873" y="1189753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>
            <a:off x="7830221" y="1252674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>
            <a:off x="7823341" y="1320348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>
            <a:off x="7356352" y="975430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/>
        </p:nvCxnSpPr>
        <p:spPr>
          <a:xfrm>
            <a:off x="7351525" y="1027860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/>
        </p:nvCxnSpPr>
        <p:spPr>
          <a:xfrm>
            <a:off x="7368738" y="1098864"/>
            <a:ext cx="476152" cy="21528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8" name="Прямоугольник 127"/>
              <p:cNvSpPr/>
              <p:nvPr/>
            </p:nvSpPr>
            <p:spPr>
              <a:xfrm>
                <a:off x="9075571" y="2089217"/>
                <a:ext cx="25110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28" name="Прямоугольник 12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5571" y="2089217"/>
                <a:ext cx="251100" cy="307777"/>
              </a:xfrm>
              <a:prstGeom prst="rect">
                <a:avLst/>
              </a:prstGeom>
              <a:blipFill>
                <a:blip r:embed="rId16"/>
                <a:stretch>
                  <a:fillRect r="-243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Прямоугольник 128"/>
              <p:cNvSpPr/>
              <p:nvPr/>
            </p:nvSpPr>
            <p:spPr>
              <a:xfrm>
                <a:off x="8378267" y="2079712"/>
                <a:ext cx="885691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en-US" sz="1400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29" name="Прямоугольник 12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8267" y="2079712"/>
                <a:ext cx="885691" cy="307777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Прямоугольник 129"/>
              <p:cNvSpPr/>
              <p:nvPr/>
            </p:nvSpPr>
            <p:spPr>
              <a:xfrm>
                <a:off x="9189818" y="344442"/>
                <a:ext cx="25110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30" name="Прямоугольник 12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9818" y="344442"/>
                <a:ext cx="251100" cy="307777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1" name="Прямоугольник 130"/>
          <p:cNvSpPr/>
          <p:nvPr/>
        </p:nvSpPr>
        <p:spPr>
          <a:xfrm>
            <a:off x="9188772" y="824232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4</a:t>
            </a:r>
            <a:endParaRPr lang="ru-RU" sz="1400" dirty="0"/>
          </a:p>
        </p:txBody>
      </p:sp>
      <p:sp>
        <p:nvSpPr>
          <p:cNvPr id="132" name="Прямоугольник 131"/>
          <p:cNvSpPr/>
          <p:nvPr/>
        </p:nvSpPr>
        <p:spPr>
          <a:xfrm>
            <a:off x="9191029" y="1183321"/>
            <a:ext cx="1876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3</a:t>
            </a:r>
            <a:endParaRPr lang="ru-RU" sz="1400" dirty="0"/>
          </a:p>
        </p:txBody>
      </p:sp>
      <p:sp>
        <p:nvSpPr>
          <p:cNvPr id="133" name="Прямоугольник 132"/>
          <p:cNvSpPr/>
          <p:nvPr/>
        </p:nvSpPr>
        <p:spPr>
          <a:xfrm>
            <a:off x="9204623" y="1436775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134" name="Прямоугольник 133"/>
          <p:cNvSpPr/>
          <p:nvPr/>
        </p:nvSpPr>
        <p:spPr>
          <a:xfrm>
            <a:off x="9204478" y="1771935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1</a:t>
            </a:r>
            <a:endParaRPr lang="ru-RU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Прямоугольник 134"/>
              <p:cNvSpPr/>
              <p:nvPr/>
            </p:nvSpPr>
            <p:spPr>
              <a:xfrm>
                <a:off x="7306592" y="3750287"/>
                <a:ext cx="25110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35" name="Прямоугольник 13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6592" y="3750287"/>
                <a:ext cx="251100" cy="30777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6" name="Прямоугольник 135"/>
          <p:cNvSpPr/>
          <p:nvPr/>
        </p:nvSpPr>
        <p:spPr>
          <a:xfrm>
            <a:off x="6460962" y="4164328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4</a:t>
            </a:r>
            <a:endParaRPr lang="ru-RU" sz="1400" dirty="0"/>
          </a:p>
        </p:txBody>
      </p:sp>
      <p:sp>
        <p:nvSpPr>
          <p:cNvPr id="137" name="Прямоугольник 136"/>
          <p:cNvSpPr/>
          <p:nvPr/>
        </p:nvSpPr>
        <p:spPr>
          <a:xfrm>
            <a:off x="6474849" y="3559634"/>
            <a:ext cx="1876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3</a:t>
            </a:r>
            <a:endParaRPr lang="ru-RU" sz="1400" dirty="0"/>
          </a:p>
        </p:txBody>
      </p:sp>
      <p:sp>
        <p:nvSpPr>
          <p:cNvPr id="138" name="Прямоугольник 137"/>
          <p:cNvSpPr/>
          <p:nvPr/>
        </p:nvSpPr>
        <p:spPr>
          <a:xfrm>
            <a:off x="5676486" y="2762004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1</a:t>
            </a:r>
            <a:endParaRPr lang="ru-RU" sz="1400" dirty="0"/>
          </a:p>
        </p:txBody>
      </p:sp>
      <p:sp>
        <p:nvSpPr>
          <p:cNvPr id="140" name="Прямоугольник 139"/>
          <p:cNvSpPr/>
          <p:nvPr/>
        </p:nvSpPr>
        <p:spPr>
          <a:xfrm>
            <a:off x="5668147" y="3486253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141" name="Овал 140"/>
          <p:cNvSpPr/>
          <p:nvPr/>
        </p:nvSpPr>
        <p:spPr>
          <a:xfrm>
            <a:off x="9639156" y="3043552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2" name="Овал 141"/>
          <p:cNvSpPr/>
          <p:nvPr/>
        </p:nvSpPr>
        <p:spPr>
          <a:xfrm>
            <a:off x="9935426" y="3351852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3" name="Овал 142"/>
          <p:cNvSpPr/>
          <p:nvPr/>
        </p:nvSpPr>
        <p:spPr>
          <a:xfrm>
            <a:off x="10441941" y="3939100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4" name="Овал 143"/>
          <p:cNvSpPr/>
          <p:nvPr/>
        </p:nvSpPr>
        <p:spPr>
          <a:xfrm>
            <a:off x="10861758" y="4122493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5" name="Овал 144"/>
          <p:cNvSpPr/>
          <p:nvPr/>
        </p:nvSpPr>
        <p:spPr>
          <a:xfrm>
            <a:off x="11352213" y="4129515"/>
            <a:ext cx="72000" cy="72000"/>
          </a:xfrm>
          <a:prstGeom prst="ellipse">
            <a:avLst/>
          </a:prstGeom>
          <a:solidFill>
            <a:srgbClr val="E6E5E7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9549606" y="2755503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1</a:t>
            </a:r>
            <a:endParaRPr lang="ru-RU" sz="1400" dirty="0"/>
          </a:p>
        </p:txBody>
      </p:sp>
      <p:sp>
        <p:nvSpPr>
          <p:cNvPr id="147" name="Прямоугольник 146"/>
          <p:cNvSpPr/>
          <p:nvPr/>
        </p:nvSpPr>
        <p:spPr>
          <a:xfrm>
            <a:off x="9826797" y="3081809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148" name="Прямоугольник 147"/>
          <p:cNvSpPr/>
          <p:nvPr/>
        </p:nvSpPr>
        <p:spPr>
          <a:xfrm>
            <a:off x="10348129" y="3665093"/>
            <a:ext cx="1876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3</a:t>
            </a:r>
            <a:endParaRPr lang="ru-RU" sz="1400" dirty="0"/>
          </a:p>
        </p:txBody>
      </p:sp>
      <p:sp>
        <p:nvSpPr>
          <p:cNvPr id="149" name="Прямоугольник 148"/>
          <p:cNvSpPr/>
          <p:nvPr/>
        </p:nvSpPr>
        <p:spPr>
          <a:xfrm>
            <a:off x="10772870" y="3867411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4</a:t>
            </a:r>
            <a:endParaRPr lang="ru-RU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Прямоугольник 149"/>
              <p:cNvSpPr/>
              <p:nvPr/>
            </p:nvSpPr>
            <p:spPr>
              <a:xfrm>
                <a:off x="11237667" y="3864118"/>
                <a:ext cx="25110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ru-RU" sz="1400" dirty="0"/>
              </a:p>
            </p:txBody>
          </p:sp>
        </mc:Choice>
        <mc:Fallback xmlns="">
          <p:sp>
            <p:nvSpPr>
              <p:cNvPr id="150" name="Прямоугольник 1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37667" y="3864118"/>
                <a:ext cx="251100" cy="307777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Прямая со стрелкой 151"/>
          <p:cNvCxnSpPr/>
          <p:nvPr/>
        </p:nvCxnSpPr>
        <p:spPr>
          <a:xfrm>
            <a:off x="2641600" y="4164328"/>
            <a:ext cx="482600" cy="56500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Прямоугольник 152"/>
          <p:cNvSpPr/>
          <p:nvPr/>
        </p:nvSpPr>
        <p:spPr>
          <a:xfrm>
            <a:off x="3060871" y="4633559"/>
            <a:ext cx="25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0</a:t>
            </a:r>
            <a:endParaRPr lang="ru-RU" sz="1400" dirty="0"/>
          </a:p>
        </p:txBody>
      </p:sp>
      <p:sp>
        <p:nvSpPr>
          <p:cNvPr id="160" name="Прямоугольник 159"/>
          <p:cNvSpPr/>
          <p:nvPr/>
        </p:nvSpPr>
        <p:spPr>
          <a:xfrm>
            <a:off x="9984159" y="4966004"/>
            <a:ext cx="110318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ласть </a:t>
            </a:r>
          </a:p>
          <a:p>
            <a:pPr algn="ctr"/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держания</a:t>
            </a:r>
            <a:endParaRPr lang="ru-RU" sz="1400" dirty="0"/>
          </a:p>
        </p:txBody>
      </p:sp>
      <p:sp>
        <p:nvSpPr>
          <p:cNvPr id="161" name="Прямоугольник 160"/>
          <p:cNvSpPr/>
          <p:nvPr/>
        </p:nvSpPr>
        <p:spPr>
          <a:xfrm>
            <a:off x="9984159" y="5761749"/>
            <a:ext cx="1186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ласть </a:t>
            </a:r>
          </a:p>
          <a:p>
            <a:pPr algn="ctr"/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кспирации</a:t>
            </a:r>
            <a:endParaRPr lang="ru-RU" sz="1400" dirty="0"/>
          </a:p>
        </p:txBody>
      </p:sp>
      <p:cxnSp>
        <p:nvCxnSpPr>
          <p:cNvPr id="162" name="Прямая соединительная линия 161"/>
          <p:cNvCxnSpPr/>
          <p:nvPr/>
        </p:nvCxnSpPr>
        <p:spPr>
          <a:xfrm flipV="1">
            <a:off x="9493777" y="5211174"/>
            <a:ext cx="554673" cy="1834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 flipV="1">
            <a:off x="9534967" y="6041750"/>
            <a:ext cx="554673" cy="18349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/>
          <p:cNvCxnSpPr/>
          <p:nvPr/>
        </p:nvCxnSpPr>
        <p:spPr>
          <a:xfrm flipH="1" flipV="1">
            <a:off x="6980767" y="4125528"/>
            <a:ext cx="83024" cy="21575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Прямоугольник 170"/>
              <p:cNvSpPr/>
              <p:nvPr/>
            </p:nvSpPr>
            <p:spPr>
              <a:xfrm>
                <a:off x="10077897" y="3276919"/>
                <a:ext cx="2097059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</m:sSub>
                      <m:d>
                        <m:d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𝑃𝑎𝑦𝑂𝑓𝑓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ru-RU" sz="1600" b="0" i="1" smtClean="0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71" name="Прямоугольник 17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77897" y="3276919"/>
                <a:ext cx="2097059" cy="338554"/>
              </a:xfrm>
              <a:prstGeom prst="rect">
                <a:avLst/>
              </a:prstGeom>
              <a:blipFill>
                <a:blip r:embed="rId21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529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мериканский Монте-Карло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новная идея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/>
              <p:nvPr/>
            </p:nvSpPr>
            <p:spPr>
              <a:xfrm>
                <a:off x="341306" y="1028317"/>
                <a:ext cx="4340605" cy="5478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sSub>
                      <m:sSubPr>
                        <m:ctrlPr>
                          <a:rPr lang="ru-RU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=</m:t>
                    </m:r>
                    <m:func>
                      <m:funcPr>
                        <m:ctrlP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max</m:t>
                            </m:r>
                          </m:e>
                          <m:lim>
                            <m: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𝜏</m:t>
                            </m:r>
                            <m: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∈[0,</m:t>
                            </m:r>
                            <m: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𝑇</m:t>
                            </m:r>
                            <m: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]</m:t>
                            </m:r>
                          </m:lim>
                        </m:limLow>
                      </m:fName>
                      <m:e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sz="20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sz="200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SB Sans Display Light" panose="020B0303040504020204" pitchFamily="34" charset="0"/>
                                    <a:cs typeface="SB Sans Display Light" panose="020B0303040504020204" pitchFamily="34" charset="0"/>
                                  </a:rPr>
                                </m:ctrlPr>
                              </m:sSupPr>
                              <m:e>
                                <m:sSup>
                                  <m:sSupPr>
                                    <m:ctrlP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−</m:t>
                                    </m:r>
                                    <m: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𝑟𝑇</m:t>
                                    </m:r>
                                  </m:sup>
                                </m:sSup>
                                <m:d>
                                  <m:dPr>
                                    <m:ctrlP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sz="2000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SB Sans Display Light" panose="020B0303040504020204" pitchFamily="34" charset="0"/>
                                            <a:cs typeface="SB Sans Display Light" panose="020B0303040504020204" pitchFamily="34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SB Sans Display Light" panose="020B0303040504020204" pitchFamily="34" charset="0"/>
                                            <a:cs typeface="SB Sans Display Light" panose="020B0303040504020204" pitchFamily="34" charset="0"/>
                                          </a:rPr>
                                          <m:t>𝑆</m:t>
                                        </m:r>
                                      </m:e>
                                      <m:sub>
                                        <m:r>
                                          <a:rPr lang="en-US" sz="2000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SB Sans Display Light" panose="020B0303040504020204" pitchFamily="34" charset="0"/>
                                            <a:cs typeface="SB Sans Display Light" panose="020B0303040504020204" pitchFamily="34" charset="0"/>
                                          </a:rPr>
                                          <m:t>𝑇</m:t>
                                        </m:r>
                                      </m:sub>
                                    </m:sSub>
                                    <m: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−</m:t>
                                    </m:r>
                                    <m:r>
                                      <a:rPr lang="en-US" sz="20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𝐾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en-US" sz="200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SB Sans Display Light" panose="020B0303040504020204" pitchFamily="34" charset="0"/>
                                    <a:cs typeface="SB Sans Display Light" panose="020B0303040504020204" pitchFamily="34" charset="0"/>
                                  </a:rPr>
                                  <m:t>+</m:t>
                                </m:r>
                              </m:sup>
                            </m:sSup>
                          </m:e>
                        </m:d>
                      </m:e>
                    </m:func>
                  </m:oMath>
                </a14:m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</a:t>
                </a:r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?</a:t>
                </a:r>
                <a:endParaRPr lang="ru-RU" sz="20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306" y="1028317"/>
                <a:ext cx="4340605" cy="547842"/>
              </a:xfrm>
              <a:prstGeom prst="rect">
                <a:avLst/>
              </a:prstGeom>
              <a:blipFill>
                <a:blip r:embed="rId2"/>
                <a:stretch>
                  <a:fillRect t="-3333" b="-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/>
              <p:nvPr/>
            </p:nvSpPr>
            <p:spPr>
              <a:xfrm>
                <a:off x="322834" y="1625197"/>
                <a:ext cx="8702294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0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усть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0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=</m:t>
                        </m:r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&lt;</m:t>
                    </m:r>
                    <m:sSub>
                      <m:sSubPr>
                        <m:ctrlPr>
                          <a:rPr lang="en-US" sz="20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sub>
                    </m:sSub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&lt;…&lt;</m:t>
                    </m:r>
                    <m:sSub>
                      <m:sSubPr>
                        <m:ctrlPr>
                          <a:rPr lang="en-US" sz="20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20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𝑚</m:t>
                        </m:r>
                      </m:sub>
                    </m:sSub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𝑇</m:t>
                    </m:r>
                  </m:oMath>
                </a14:m>
                <a:r>
                  <a:rPr lang="en-US" sz="20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</a:t>
                </a:r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20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ременная сетка для генерации путей</a:t>
                </a:r>
                <a:endParaRPr lang="ru-RU" sz="20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834" y="1625197"/>
                <a:ext cx="8702294" cy="400110"/>
              </a:xfrm>
              <a:prstGeom prst="rect">
                <a:avLst/>
              </a:prstGeom>
              <a:blipFill>
                <a:blip r:embed="rId3"/>
                <a:stretch>
                  <a:fillRect l="-770" t="-9231" b="-2769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324041" y="2061833"/>
            <a:ext cx="66652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пользуем принцип динамического программирования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/>
              <p:nvPr/>
            </p:nvSpPr>
            <p:spPr>
              <a:xfrm>
                <a:off x="938196" y="2543977"/>
                <a:ext cx="7114961" cy="3178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en-US" smtClean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𝑉</m:t>
                    </m:r>
                    <m:d>
                      <m:dPr>
                        <m:ctrlP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𝑖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,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max</m:t>
                    </m:r>
                    <m:r>
                      <a:rPr lang="en-US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 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h</m:t>
                    </m:r>
                    <m:d>
                      <m:dPr>
                        <m:ctrlP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,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</m:ctrlPr>
                          </m:sSupPr>
                          <m:e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−</m:t>
                            </m:r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SB Sans Display Light" panose="020B0303040504020204" pitchFamily="34" charset="0"/>
                                    <a:cs typeface="SB Sans Display Light" panose="020B0303040504020204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𝑖</m:t>
                                    </m:r>
                                    <m: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SB Sans Display Light" panose="020B0303040504020204" pitchFamily="34" charset="0"/>
                                    <a:cs typeface="SB Sans Display Light" panose="020B0303040504020204" pitchFamily="34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SB Sans Display Light" panose="020B0303040504020204" pitchFamily="34" charset="0"/>
                                        <a:cs typeface="SB Sans Display Light" panose="020B0303040504020204" pitchFamily="34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𝑉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(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𝑖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+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𝑖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,</m:t>
                        </m:r>
                        <m:sSub>
                          <m:sSubPr>
                            <m:ctrlP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+1</m:t>
                            </m:r>
                          </m:sub>
                        </m:sSub>
                        <m:r>
                          <a:rPr lang="ru-RU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)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|</m:t>
                        </m:r>
                        <m:sSub>
                          <m:sSubPr>
                            <m:ctrlP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SB Sans Display Light" panose="020B0303040504020204" pitchFamily="34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=</m:t>
                        </m:r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SB Sans Display Light" panose="020B0303040504020204" pitchFamily="34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 b="0" i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𝑖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=0,…,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𝑚</m:t>
                    </m:r>
                    <m:r>
                      <a:rPr lang="en-US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cs typeface="SB Sans Display Light" panose="020B0303040504020204" pitchFamily="34" charset="0"/>
                      </a:rPr>
                      <m:t>−1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8196" y="2543977"/>
                <a:ext cx="7114961" cy="317844"/>
              </a:xfrm>
              <a:prstGeom prst="rect">
                <a:avLst/>
              </a:prstGeom>
              <a:blipFill>
                <a:blip r:embed="rId4"/>
                <a:stretch>
                  <a:fillRect l="-1200" t="-15385" b="-4230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607DFFB3-FF03-0343-86C9-13AC5AA25B9B}"/>
              </a:ext>
            </a:extLst>
          </p:cNvPr>
          <p:cNvSpPr txBox="1"/>
          <p:nvPr/>
        </p:nvSpPr>
        <p:spPr>
          <a:xfrm>
            <a:off x="324041" y="3270807"/>
            <a:ext cx="76202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новная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дея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определения 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 Value (</a:t>
            </a:r>
            <a:r>
              <a:rPr lang="en-US" sz="2000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 =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МНК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/>
              <p:nvPr/>
            </p:nvSpPr>
            <p:spPr>
              <a:xfrm>
                <a:off x="628755" y="3643745"/>
                <a:ext cx="4716495" cy="6592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𝑉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𝑖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+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𝑖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+1)</m:t>
                              </m:r>
                            </m:sub>
                          </m:sSub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𝑆</m:t>
                          </m:r>
                        </m:e>
                      </m:d>
                      <m:r>
                        <a:rPr lang="en-US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𝑘</m:t>
                          </m:r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1</m:t>
                          </m:r>
                        </m:sub>
                        <m:sup>
                          <m:r>
                            <a:rPr lang="en-US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ru-RU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755" y="3643745"/>
                <a:ext cx="4716495" cy="65921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Rectangle 14"/>
              <p:cNvSpPr/>
              <p:nvPr/>
            </p:nvSpPr>
            <p:spPr>
              <a:xfrm>
                <a:off x="866559" y="4270622"/>
                <a:ext cx="328556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𝑥</m:t>
                        </m:r>
                      </m:e>
                    </m:d>
                  </m:oMath>
                </a14:m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базисные функции</a:t>
                </a:r>
                <a:endParaRPr lang="ru-RU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𝑘</m:t>
                        </m:r>
                      </m:sub>
                    </m:sSub>
                  </m:oMath>
                </a14:m>
                <a:r>
                  <a:rPr lang="ru-RU" dirty="0"/>
                  <a:t> </a:t>
                </a:r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коэффициенты регрессии</a:t>
                </a:r>
                <a:endParaRPr lang="ru-RU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15" name="Rectangle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6559" y="4270622"/>
                <a:ext cx="3285563" cy="646331"/>
              </a:xfrm>
              <a:prstGeom prst="rect">
                <a:avLst/>
              </a:prstGeom>
              <a:blipFill>
                <a:blip r:embed="rId6"/>
                <a:stretch>
                  <a:fillRect l="-557" t="-5660" b="-1415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/>
              <p:nvPr/>
            </p:nvSpPr>
            <p:spPr>
              <a:xfrm>
                <a:off x="6698578" y="3751691"/>
                <a:ext cx="3247749" cy="4024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lim>
                          </m:limLow>
                        </m:fName>
                        <m:e>
                          <m:sSup>
                            <m:sSup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+1,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𝜓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8578" y="3751691"/>
                <a:ext cx="3247749" cy="402482"/>
              </a:xfrm>
              <a:prstGeom prst="rect">
                <a:avLst/>
              </a:prstGeom>
              <a:blipFill>
                <a:blip r:embed="rId7"/>
                <a:stretch>
                  <a:fillRect l="-1313" r="-188" b="-2121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Rectangle 17"/>
              <p:cNvSpPr/>
              <p:nvPr/>
            </p:nvSpPr>
            <p:spPr>
              <a:xfrm>
                <a:off x="799529" y="2869835"/>
                <a:ext cx="175503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8" name="Rectangle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9529" y="2869835"/>
                <a:ext cx="1755032" cy="369332"/>
              </a:xfrm>
              <a:prstGeom prst="rect">
                <a:avLst/>
              </a:prstGeom>
              <a:blipFill>
                <a:blip r:embed="rId8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/>
              <p:nvPr/>
            </p:nvSpPr>
            <p:spPr>
              <a:xfrm>
                <a:off x="6698578" y="4270622"/>
                <a:ext cx="3936719" cy="3667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ru-RU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ru-RU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𝜓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1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8578" y="4270622"/>
                <a:ext cx="3936719" cy="366767"/>
              </a:xfrm>
              <a:prstGeom prst="rect">
                <a:avLst/>
              </a:prstGeom>
              <a:blipFill>
                <a:blip r:embed="rId9"/>
                <a:stretch>
                  <a:fillRect l="-1703" t="-5000" r="-1703" b="-2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/>
              <p:nvPr/>
            </p:nvSpPr>
            <p:spPr>
              <a:xfrm>
                <a:off x="2066761" y="5732082"/>
                <a:ext cx="7365093" cy="3178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≔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sup>
                    </m:sSup>
                  </m:oMath>
                </a14:m>
                <a:r>
                  <a:rPr lang="en-US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acc>
                          <m:accPr>
                            <m:chr m:val="̂"/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𝑘</m:t>
                                </m:r>
                              </m:sub>
                            </m:sSub>
                          </m:e>
                        </m:acc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66761" y="5732082"/>
                <a:ext cx="7365093" cy="317844"/>
              </a:xfrm>
              <a:prstGeom prst="rect">
                <a:avLst/>
              </a:prstGeom>
              <a:blipFill>
                <a:blip r:embed="rId10"/>
                <a:stretch>
                  <a:fillRect l="-1076" t="-144231" r="-414" b="-22884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Right Arrow 20"/>
          <p:cNvSpPr/>
          <p:nvPr/>
        </p:nvSpPr>
        <p:spPr>
          <a:xfrm>
            <a:off x="5583054" y="3926707"/>
            <a:ext cx="786384" cy="635759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3" name="Right Brace 22"/>
          <p:cNvSpPr/>
          <p:nvPr/>
        </p:nvSpPr>
        <p:spPr>
          <a:xfrm rot="5400000">
            <a:off x="5615064" y="-10838"/>
            <a:ext cx="266229" cy="10079794"/>
          </a:xfrm>
          <a:prstGeom prst="rightBrace">
            <a:avLst/>
          </a:prstGeom>
          <a:ln w="254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ight Arrow 23"/>
          <p:cNvSpPr/>
          <p:nvPr/>
        </p:nvSpPr>
        <p:spPr>
          <a:xfrm rot="5400000">
            <a:off x="5551582" y="5182953"/>
            <a:ext cx="393191" cy="635759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324040" y="6238939"/>
            <a:ext cx="11507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ычно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используем два набора путей Монте-Карло: первый набор – для регрессии, второй – для оценки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034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8649" y="1018689"/>
            <a:ext cx="1055484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помним, что 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–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жидаемые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-нейтральной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ре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тери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а при дефолте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агента</a:t>
            </a:r>
          </a:p>
          <a:p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часть цены дериватива: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а для клиента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=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Risk-free Price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+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r>
              <a:rPr lang="ru-RU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ru-RU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VA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Прямоугольник 7"/>
              <p:cNvSpPr/>
              <p:nvPr/>
            </p:nvSpPr>
            <p:spPr>
              <a:xfrm>
                <a:off x="6837743" y="3850246"/>
                <a:ext cx="5270998" cy="9792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−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sz="16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 dirty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b="0" i="1" dirty="0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𝐿𝐺𝐷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d>
                                    <m:d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0,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  <m:acc>
                                    <m:accPr>
                                      <m:chr m:val="̃"/>
                                      <m:ctrlP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𝑉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bSup>
                              <m:d>
                                <m:dPr>
                                  <m:ctrlP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m:rPr>
                                  <m:sty m:val="p"/>
                                </m:rPr>
                                <a:rPr lang="ru-RU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Δ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𝑃𝐷</m:t>
                              </m:r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SB Sans Display Light" panose="020B0303040504020204" pitchFamily="34" charset="0"/>
                                  <a:cs typeface="SB Sans Display Light" panose="020B0303040504020204" pitchFamily="34" charset="0"/>
                                </a:rPr>
                                <m:t>,</m:t>
                              </m:r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)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7743" y="3850246"/>
                <a:ext cx="5270998" cy="97924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2DDADA22-0A42-214B-91FA-474FED156E3E}"/>
              </a:ext>
            </a:extLst>
          </p:cNvPr>
          <p:cNvSpPr txBox="1"/>
          <p:nvPr/>
        </p:nvSpPr>
        <p:spPr>
          <a:xfrm>
            <a:off x="434754" y="4808582"/>
            <a:ext cx="409992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лаем 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нте-Карло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регрессии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/>
              <p:nvPr/>
            </p:nvSpPr>
            <p:spPr>
              <a:xfrm>
                <a:off x="574715" y="2185543"/>
                <a:ext cx="10863026" cy="9272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8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800"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p>
                      <m:nary>
                        <m:naryPr>
                          <m:limLoc m:val="undOvr"/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4"/>
                            </m:rP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0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𝐿𝐺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func>
                                <m:func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Risk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-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fre</m:t>
                                  </m:r>
                                  <m:r>
                                    <m:rPr>
                                      <m:nor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e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Price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𝜏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</m:d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0)</m:t>
                                  </m:r>
                                </m:e>
                              </m:func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𝑃𝐷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ru-RU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−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𝐿𝐺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𝐸</m:t>
                              </m:r>
                            </m:e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𝑄</m:t>
                              </m:r>
                            </m:sup>
                          </m:sSup>
                          <m:nary>
                            <m:nary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0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𝑑</m:t>
                              </m:r>
                              <m:sSub>
                                <m:sSubPr>
                                  <m:ctrlPr>
                                    <a:rPr lang="ru-RU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𝑃𝐷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715" y="2185543"/>
                <a:ext cx="10863026" cy="92724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Brace 6">
            <a:extLst>
              <a:ext uri="{FF2B5EF4-FFF2-40B4-BE49-F238E27FC236}">
                <a16:creationId xmlns:a16="http://schemas.microsoft.com/office/drawing/2014/main" id="{626263B0-4C94-7C4D-A42B-F8452C943BE5}"/>
              </a:ext>
            </a:extLst>
          </p:cNvPr>
          <p:cNvSpPr/>
          <p:nvPr/>
        </p:nvSpPr>
        <p:spPr>
          <a:xfrm rot="5400000" flipV="1">
            <a:off x="3045362" y="2636802"/>
            <a:ext cx="106050" cy="633239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0" name="Right Brace 6">
            <a:extLst>
              <a:ext uri="{FF2B5EF4-FFF2-40B4-BE49-F238E27FC236}">
                <a16:creationId xmlns:a16="http://schemas.microsoft.com/office/drawing/2014/main" id="{F4040933-1112-464B-A616-72FBAE5B5277}"/>
              </a:ext>
            </a:extLst>
          </p:cNvPr>
          <p:cNvSpPr/>
          <p:nvPr/>
        </p:nvSpPr>
        <p:spPr>
          <a:xfrm rot="5400000">
            <a:off x="5479233" y="1502049"/>
            <a:ext cx="148968" cy="2784534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76909BB-EC70-2248-A338-249D006CE571}"/>
              </a:ext>
            </a:extLst>
          </p:cNvPr>
          <p:cNvSpPr txBox="1"/>
          <p:nvPr/>
        </p:nvSpPr>
        <p:spPr>
          <a:xfrm>
            <a:off x="7029961" y="4839359"/>
            <a:ext cx="459598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лаем  Монте-Карло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а 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endParaRPr lang="ru-RU" sz="20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/>
              <p:nvPr/>
            </p:nvSpPr>
            <p:spPr>
              <a:xfrm>
                <a:off x="148690" y="3820882"/>
                <a:ext cx="4301412" cy="9792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−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𝐿𝐺𝐷</m:t>
                      </m:r>
                      <m:nary>
                        <m:naryPr>
                          <m:chr m:val="∑"/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(0,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)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𝑉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</m:e>
                          </m:nary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𝑃𝐷</m:t>
                          </m:r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−1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cs typeface="SB Sans Display Light" panose="020B0303040504020204" pitchFamily="34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690" y="3820882"/>
                <a:ext cx="4301412" cy="97924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/>
              <p:nvPr/>
            </p:nvSpPr>
            <p:spPr>
              <a:xfrm>
                <a:off x="4696426" y="4042688"/>
                <a:ext cx="1894993" cy="3802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𝜔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≈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acc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𝑉</m:t>
                            </m:r>
                          </m:e>
                        </m:acc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 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𝜔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 </a:t>
                </a:r>
              </a:p>
            </p:txBody>
          </p:sp>
        </mc:Choice>
        <mc:Fallback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6426" y="4042688"/>
                <a:ext cx="1894993" cy="380297"/>
              </a:xfrm>
              <a:prstGeom prst="rect">
                <a:avLst/>
              </a:prstGeom>
              <a:blipFill>
                <a:blip r:embed="rId5"/>
                <a:stretch>
                  <a:fillRect b="-476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>
            <a:extLst>
              <a:ext uri="{FF2B5EF4-FFF2-40B4-BE49-F238E27FC236}">
                <a16:creationId xmlns:a16="http://schemas.microsoft.com/office/drawing/2014/main" id="{07122291-2166-0245-A9B6-3E00C9EDCFB7}"/>
              </a:ext>
            </a:extLst>
          </p:cNvPr>
          <p:cNvSpPr txBox="1"/>
          <p:nvPr/>
        </p:nvSpPr>
        <p:spPr>
          <a:xfrm>
            <a:off x="7165749" y="1908979"/>
            <a:ext cx="172643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 value</a:t>
            </a:r>
            <a:endParaRPr lang="ru-RU" dirty="0" err="1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DC7AF5FF-108F-1C42-9885-E2E8DCB356FF}"/>
              </a:ext>
            </a:extLst>
          </p:cNvPr>
          <p:cNvSpPr txBox="1"/>
          <p:nvPr/>
        </p:nvSpPr>
        <p:spPr>
          <a:xfrm>
            <a:off x="4707002" y="2968798"/>
            <a:ext cx="1707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ositive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osure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1C84B934-58A9-0C49-98D1-ADF6BB737828}"/>
              </a:ext>
            </a:extLst>
          </p:cNvPr>
          <p:cNvSpPr txBox="1"/>
          <p:nvPr/>
        </p:nvSpPr>
        <p:spPr>
          <a:xfrm>
            <a:off x="2517029" y="2998669"/>
            <a:ext cx="12618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iscount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actor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4338733" y="4081696"/>
            <a:ext cx="354566" cy="387943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6006228" y="2179221"/>
            <a:ext cx="1159522" cy="330430"/>
          </a:xfrm>
          <a:prstGeom prst="straightConnector1">
            <a:avLst/>
          </a:prstGeom>
          <a:ln w="349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8892184" y="2179221"/>
            <a:ext cx="1147554" cy="343797"/>
          </a:xfrm>
          <a:prstGeom prst="straightConnector1">
            <a:avLst/>
          </a:prstGeom>
          <a:ln w="349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9" name="Rectangle 38"/>
              <p:cNvSpPr/>
              <p:nvPr/>
            </p:nvSpPr>
            <p:spPr>
              <a:xfrm>
                <a:off x="288650" y="5121166"/>
                <a:ext cx="3898888" cy="5961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)|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ru-RU" sz="1600" dirty="0"/>
              </a:p>
            </p:txBody>
          </p:sp>
        </mc:Choice>
        <mc:Fallback>
          <p:sp>
            <p:nvSpPr>
              <p:cNvPr id="39" name="Rectangle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650" y="5121166"/>
                <a:ext cx="3898888" cy="59618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tangle 39"/>
          <p:cNvSpPr/>
          <p:nvPr/>
        </p:nvSpPr>
        <p:spPr>
          <a:xfrm>
            <a:off x="5170743" y="4577749"/>
            <a:ext cx="835485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</a:t>
            </a:r>
            <a:endParaRPr lang="ru-RU" sz="25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A491A21-6854-A846-BEBB-D180E9CDB5AA}"/>
                  </a:ext>
                </a:extLst>
              </p:cNvPr>
              <p:cNvSpPr txBox="1"/>
              <p:nvPr/>
            </p:nvSpPr>
            <p:spPr>
              <a:xfrm>
                <a:off x="7099542" y="2995946"/>
                <a:ext cx="1687584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𝜏</m:t>
                    </m:r>
                    <m:r>
                      <a:rPr lang="en-US" sz="20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 </m:t>
                    </m:r>
                  </m:oMath>
                </a14:m>
                <a:r>
                  <a:rPr lang="en-US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default time</a:t>
                </a:r>
                <a:endParaRPr lang="ru-RU" sz="20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A491A21-6854-A846-BEBB-D180E9CDB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99542" y="2995946"/>
                <a:ext cx="1687584" cy="461665"/>
              </a:xfrm>
              <a:prstGeom prst="rect">
                <a:avLst/>
              </a:prstGeom>
              <a:blipFill>
                <a:blip r:embed="rId7"/>
                <a:stretch>
                  <a:fillRect l="-3986" r="-2536" b="-2236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Right Arrow 41"/>
          <p:cNvSpPr/>
          <p:nvPr/>
        </p:nvSpPr>
        <p:spPr>
          <a:xfrm>
            <a:off x="6575884" y="4081696"/>
            <a:ext cx="354566" cy="387943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0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9694BE-F06D-0848-B889-BA11BEC19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3224231" y="1346636"/>
            <a:ext cx="7474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а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3" name="Открывающая фигурная скобка 12">
            <a:extLst>
              <a:ext uri="{FF2B5EF4-FFF2-40B4-BE49-F238E27FC236}">
                <a16:creationId xmlns:a16="http://schemas.microsoft.com/office/drawing/2014/main" id="{7E32C1BF-4859-7745-BBAE-E728587A0582}"/>
              </a:ext>
            </a:extLst>
          </p:cNvPr>
          <p:cNvSpPr/>
          <p:nvPr/>
        </p:nvSpPr>
        <p:spPr>
          <a:xfrm>
            <a:off x="5772840" y="955580"/>
            <a:ext cx="214644" cy="867979"/>
          </a:xfrm>
          <a:prstGeom prst="leftBrac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D86F63E8-0CCF-6E4F-84F7-14392E5D9494}"/>
              </a:ext>
            </a:extLst>
          </p:cNvPr>
          <p:cNvCxnSpPr>
            <a:cxnSpLocks/>
          </p:cNvCxnSpPr>
          <p:nvPr/>
        </p:nvCxnSpPr>
        <p:spPr>
          <a:xfrm>
            <a:off x="6837802" y="1638893"/>
            <a:ext cx="896039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Открывающая фигурная скобка 21">
            <a:extLst>
              <a:ext uri="{FF2B5EF4-FFF2-40B4-BE49-F238E27FC236}">
                <a16:creationId xmlns:a16="http://schemas.microsoft.com/office/drawing/2014/main" id="{FD29DCC2-8A4D-C54B-8862-14312D7F2EA4}"/>
              </a:ext>
            </a:extLst>
          </p:cNvPr>
          <p:cNvSpPr/>
          <p:nvPr/>
        </p:nvSpPr>
        <p:spPr>
          <a:xfrm>
            <a:off x="7892944" y="903522"/>
            <a:ext cx="214644" cy="1470742"/>
          </a:xfrm>
          <a:prstGeom prst="leftBrac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B2AC9-1866-494D-82E9-77C844A0FDF7}"/>
              </a:ext>
            </a:extLst>
          </p:cNvPr>
          <p:cNvSpPr txBox="1"/>
          <p:nvPr/>
        </p:nvSpPr>
        <p:spPr>
          <a:xfrm>
            <a:off x="8136827" y="894574"/>
            <a:ext cx="11347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Delta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Vega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RVega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V01</a:t>
            </a:r>
          </a:p>
          <a:p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S01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199554D-A424-8D40-86AD-E63A24BCBDDD}"/>
              </a:ext>
            </a:extLst>
          </p:cNvPr>
          <p:cNvCxnSpPr>
            <a:cxnSpLocks/>
          </p:cNvCxnSpPr>
          <p:nvPr/>
        </p:nvCxnSpPr>
        <p:spPr>
          <a:xfrm>
            <a:off x="9259675" y="1544869"/>
            <a:ext cx="896039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F936FF0-65F0-7046-8EFE-EDAD471390F7}"/>
              </a:ext>
            </a:extLst>
          </p:cNvPr>
          <p:cNvSpPr txBox="1"/>
          <p:nvPr/>
        </p:nvSpPr>
        <p:spPr>
          <a:xfrm>
            <a:off x="10300711" y="870161"/>
            <a:ext cx="179955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ужна чувствительность к каждому входному параметру (к каждой точке поверхности волатильности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пример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0A5002-B53A-3949-BCE0-5487DED498F4}"/>
              </a:ext>
            </a:extLst>
          </p:cNvPr>
          <p:cNvSpPr txBox="1"/>
          <p:nvPr/>
        </p:nvSpPr>
        <p:spPr>
          <a:xfrm>
            <a:off x="9254167" y="475832"/>
            <a:ext cx="862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26054467-7D89-5047-A40B-3AFDA250AD76}"/>
              </a:ext>
            </a:extLst>
          </p:cNvPr>
          <p:cNvCxnSpPr/>
          <p:nvPr/>
        </p:nvCxnSpPr>
        <p:spPr>
          <a:xfrm>
            <a:off x="9259675" y="1823559"/>
            <a:ext cx="689468" cy="85354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928D489-8EDA-5248-AC49-AA75FC9759D3}"/>
              </a:ext>
            </a:extLst>
          </p:cNvPr>
          <p:cNvCxnSpPr/>
          <p:nvPr/>
        </p:nvCxnSpPr>
        <p:spPr>
          <a:xfrm flipH="1">
            <a:off x="9277114" y="1823558"/>
            <a:ext cx="672029" cy="853541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85A0A13B-858B-9B4A-843D-5491C0D01A6E}"/>
              </a:ext>
            </a:extLst>
          </p:cNvPr>
          <p:cNvCxnSpPr>
            <a:cxnSpLocks/>
          </p:cNvCxnSpPr>
          <p:nvPr/>
        </p:nvCxnSpPr>
        <p:spPr>
          <a:xfrm>
            <a:off x="7186900" y="4269990"/>
            <a:ext cx="349877" cy="1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0" name="Открывающая фигурная скобка 39">
            <a:extLst>
              <a:ext uri="{FF2B5EF4-FFF2-40B4-BE49-F238E27FC236}">
                <a16:creationId xmlns:a16="http://schemas.microsoft.com/office/drawing/2014/main" id="{74E24008-4038-C44E-89B0-C63098F02C65}"/>
              </a:ext>
            </a:extLst>
          </p:cNvPr>
          <p:cNvSpPr/>
          <p:nvPr/>
        </p:nvSpPr>
        <p:spPr>
          <a:xfrm>
            <a:off x="7733841" y="3819574"/>
            <a:ext cx="214644" cy="867979"/>
          </a:xfrm>
          <a:prstGeom prst="leftBrac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FCC696-BC8F-7D45-9720-86768B9EBA37}"/>
              </a:ext>
            </a:extLst>
          </p:cNvPr>
          <p:cNvSpPr txBox="1"/>
          <p:nvPr/>
        </p:nvSpPr>
        <p:spPr>
          <a:xfrm>
            <a:off x="8022115" y="3736304"/>
            <a:ext cx="33601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(Credit Value Adjustment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A3DA89-D3C7-D442-A780-AF44F30FE2D3}"/>
              </a:ext>
            </a:extLst>
          </p:cNvPr>
          <p:cNvSpPr txBox="1"/>
          <p:nvPr/>
        </p:nvSpPr>
        <p:spPr>
          <a:xfrm>
            <a:off x="7992737" y="4269048"/>
            <a:ext cx="3384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VA (Debit Value Adjustment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828C875-A885-E841-A728-EE538D276BDF}"/>
              </a:ext>
            </a:extLst>
          </p:cNvPr>
          <p:cNvSpPr txBox="1"/>
          <p:nvPr/>
        </p:nvSpPr>
        <p:spPr>
          <a:xfrm>
            <a:off x="8388516" y="4787249"/>
            <a:ext cx="871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MC</a:t>
            </a:r>
            <a:endParaRPr lang="ru-RU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7BBE975-1425-FA4C-A554-748EC879F3F0}"/>
              </a:ext>
            </a:extLst>
          </p:cNvPr>
          <p:cNvSpPr txBox="1"/>
          <p:nvPr/>
        </p:nvSpPr>
        <p:spPr>
          <a:xfrm>
            <a:off x="6069193" y="476436"/>
            <a:ext cx="15563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onte Carlo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010EA18-863D-3440-B448-3984ADF31BF7}"/>
              </a:ext>
            </a:extLst>
          </p:cNvPr>
          <p:cNvSpPr txBox="1"/>
          <p:nvPr/>
        </p:nvSpPr>
        <p:spPr>
          <a:xfrm>
            <a:off x="5897918" y="5179809"/>
            <a:ext cx="57736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опросы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 такое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 такое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 Carl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как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могает в задаче вычисления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?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3220718" y="1812224"/>
            <a:ext cx="10165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Greeks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6250737" y="4068993"/>
            <a:ext cx="9812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CVA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10A5002-B53A-3949-BCE0-5487DED498F4}"/>
              </a:ext>
            </a:extLst>
          </p:cNvPr>
          <p:cNvSpPr txBox="1"/>
          <p:nvPr/>
        </p:nvSpPr>
        <p:spPr>
          <a:xfrm>
            <a:off x="9254166" y="2030838"/>
            <a:ext cx="862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ump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33373" y="1151949"/>
            <a:ext cx="2293958" cy="5148173"/>
            <a:chOff x="816294" y="1155635"/>
            <a:chExt cx="2293958" cy="5148173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444286C1-0B3F-A544-B9B3-35B3429E2CFF}"/>
                </a:ext>
              </a:extLst>
            </p:cNvPr>
            <p:cNvSpPr/>
            <p:nvPr/>
          </p:nvSpPr>
          <p:spPr>
            <a:xfrm>
              <a:off x="819103" y="1155635"/>
              <a:ext cx="2291149" cy="51481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A1AB145-57F2-AE4C-8C58-530F543F49BF}"/>
                </a:ext>
              </a:extLst>
            </p:cNvPr>
            <p:cNvSpPr txBox="1"/>
            <p:nvPr/>
          </p:nvSpPr>
          <p:spPr>
            <a:xfrm>
              <a:off x="1192885" y="2280431"/>
              <a:ext cx="1880061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VNEKB</a:t>
              </a:r>
              <a:endPara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  <a:p>
              <a:r>
                <a: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RAZYU</a:t>
              </a:r>
            </a:p>
            <a:p>
              <a:r>
                <a: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RPZSO</a:t>
              </a:r>
            </a:p>
            <a:p>
              <a:r>
                <a: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ALFSZ</a:t>
              </a:r>
            </a:p>
            <a:p>
              <a:r>
                <a: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SVSTL</a:t>
              </a:r>
              <a:endPara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  <a:p>
              <a:r>
                <a: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MRCHU</a:t>
              </a:r>
            </a:p>
            <a:p>
              <a:r>
                <a: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REKRE</a:t>
              </a:r>
            </a:p>
            <a:p>
              <a:r>
                <a: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…</a:t>
              </a:r>
              <a:endPara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A27BE53-D56F-6745-A8E9-FF0CF14B8C89}"/>
                </a:ext>
              </a:extLst>
            </p:cNvPr>
            <p:cNvSpPr txBox="1"/>
            <p:nvPr/>
          </p:nvSpPr>
          <p:spPr>
            <a:xfrm>
              <a:off x="834224" y="1169579"/>
              <a:ext cx="22760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Деривативный портфель</a:t>
              </a:r>
              <a:endPara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A1AB145-57F2-AE4C-8C58-530F543F49BF}"/>
                </a:ext>
              </a:extLst>
            </p:cNvPr>
            <p:cNvSpPr txBox="1"/>
            <p:nvPr/>
          </p:nvSpPr>
          <p:spPr>
            <a:xfrm>
              <a:off x="1135616" y="4693166"/>
              <a:ext cx="193733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Продукты на процентные ставки</a:t>
              </a:r>
            </a:p>
            <a:p>
              <a:r>
                <a: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FX </a:t>
              </a:r>
              <a:r>
                <a: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продукты</a:t>
              </a:r>
            </a:p>
            <a:p>
              <a:r>
                <a: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Товарные продукты</a:t>
              </a:r>
            </a:p>
            <a:p>
              <a:r>
                <a: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…</a:t>
              </a:r>
              <a:endPara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816294" y="4428173"/>
              <a:ext cx="14019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 err="1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Деривативы</a:t>
              </a:r>
              <a:endPara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822619" y="1966189"/>
              <a:ext cx="145937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Контрагенты</a:t>
              </a:r>
              <a:endParaRPr lang="ru-RU" dirty="0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3335903" y="3371272"/>
            <a:ext cx="1542923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1200 контрагентов</a:t>
            </a:r>
          </a:p>
          <a:p>
            <a:endParaRPr lang="ru-RU" sz="1400" dirty="0">
              <a:solidFill>
                <a:schemeClr val="tx2"/>
              </a:solidFill>
            </a:endParaRPr>
          </a:p>
          <a:p>
            <a:r>
              <a:rPr lang="ru-RU" sz="1400" dirty="0" smtClean="0">
                <a:solidFill>
                  <a:schemeClr val="tx2"/>
                </a:solidFill>
              </a:rPr>
              <a:t>500 </a:t>
            </a:r>
            <a:r>
              <a:rPr lang="en-US" sz="1400" dirty="0" smtClean="0">
                <a:solidFill>
                  <a:schemeClr val="tx2"/>
                </a:solidFill>
              </a:rPr>
              <a:t>Greeks</a:t>
            </a:r>
            <a:endParaRPr lang="ru-RU" sz="1400" dirty="0" smtClean="0">
              <a:solidFill>
                <a:schemeClr val="tx2"/>
              </a:solidFill>
            </a:endParaRPr>
          </a:p>
          <a:p>
            <a:endParaRPr lang="ru-RU" sz="1400" dirty="0" smtClean="0">
              <a:solidFill>
                <a:schemeClr val="tx2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3191514" y="891029"/>
            <a:ext cx="16971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жедневно нужны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65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kT0.3JeYJXijcx.aSx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heme/theme1.xml><?xml version="1.0" encoding="utf-8"?>
<a:theme xmlns:a="http://schemas.openxmlformats.org/drawingml/2006/main" name="Тема Office">
  <a:themeElements>
    <a:clrScheme name="SBER-CIB_2020_1">
      <a:dk1>
        <a:sysClr val="windowText" lastClr="000000"/>
      </a:dk1>
      <a:lt1>
        <a:sysClr val="window" lastClr="FFFFFF"/>
      </a:lt1>
      <a:dk2>
        <a:srgbClr val="333F48"/>
      </a:dk2>
      <a:lt2>
        <a:srgbClr val="D6D4D4"/>
      </a:lt2>
      <a:accent1>
        <a:srgbClr val="00766C"/>
      </a:accent1>
      <a:accent2>
        <a:srgbClr val="21A038"/>
      </a:accent2>
      <a:accent3>
        <a:srgbClr val="00ADEE"/>
      </a:accent3>
      <a:accent4>
        <a:srgbClr val="A0E720"/>
      </a:accent4>
      <a:accent5>
        <a:srgbClr val="FAED00"/>
      </a:accent5>
      <a:accent6>
        <a:srgbClr val="65C4C3"/>
      </a:accent6>
      <a:hlink>
        <a:srgbClr val="65C4C3"/>
      </a:hlink>
      <a:folHlink>
        <a:srgbClr val="005677"/>
      </a:folHlink>
    </a:clrScheme>
    <a:fontScheme name="SB-2020">
      <a:majorFont>
        <a:latin typeface="SB Sans Display"/>
        <a:ea typeface=""/>
        <a:cs typeface=""/>
      </a:majorFont>
      <a:minorFont>
        <a:latin typeface="SB Sans Displa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5E7"/>
        </a:solidFill>
        <a:ln w="12700" cap="flat" cmpd="sng" algn="ctr">
          <a:noFill/>
          <a:prstDash val="solid"/>
          <a:miter lim="800000"/>
        </a:ln>
        <a:effectLst/>
      </a:spPr>
      <a:bodyPr lIns="0" tIns="0" rIns="0" bIns="0" rtlCol="0" anchor="ctr"/>
      <a:lstStyle>
        <a:defPPr algn="ctr">
          <a:defRPr>
            <a:solidFill>
              <a:schemeClr val="bg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5C720BFF-17AA-43C1-BB0B-7448596824A5}" vid="{89F1DFC7-2586-4F99-82B7-20C1505AD4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-СБ-16-9</Template>
  <TotalTime>50515</TotalTime>
  <Words>4050</Words>
  <Application>Microsoft Office PowerPoint</Application>
  <PresentationFormat>Widescreen</PresentationFormat>
  <Paragraphs>428</Paragraphs>
  <Slides>1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ambria Math</vt:lpstr>
      <vt:lpstr>SB Sans Display</vt:lpstr>
      <vt:lpstr>SB Sans Display Light</vt:lpstr>
      <vt:lpstr>SB Sans Display Semibold</vt:lpstr>
      <vt:lpstr>Times New Roman</vt:lpstr>
      <vt:lpstr>Тема Office</vt:lpstr>
      <vt:lpstr>think-cell Slide</vt:lpstr>
      <vt:lpstr>AMC &amp; AAD</vt:lpstr>
      <vt:lpstr>Pricing Service: вычислительная платформа как сервис </vt:lpstr>
      <vt:lpstr>Задача прайсинга</vt:lpstr>
      <vt:lpstr>Эволюция прайсинга</vt:lpstr>
      <vt:lpstr>Проблема применения метода Монте-Карло</vt:lpstr>
      <vt:lpstr>Американский Монте-Карло</vt:lpstr>
      <vt:lpstr>Американский Монте-Карло: основная идея</vt:lpstr>
      <vt:lpstr>AMC для CVA</vt:lpstr>
      <vt:lpstr>CVA и AAD</vt:lpstr>
      <vt:lpstr>Automatic Differentiation: basics</vt:lpstr>
      <vt:lpstr>Automatic Differentiation: forward propagation</vt:lpstr>
      <vt:lpstr>AAD: Automatic Adjoint Differentiation</vt:lpstr>
      <vt:lpstr>AAD: Automatic Adjoint Differentiation</vt:lpstr>
      <vt:lpstr>Конструктор payoff: универсальный языка описания ПФИ</vt:lpstr>
      <vt:lpstr>Фабрика моделей: читаем описание ПФИ, строим модель автоматически</vt:lpstr>
      <vt:lpstr>Может понадобиться</vt:lpstr>
      <vt:lpstr>Пример: CVA для форварда без CSA и c CSA (=Credit Support Annex)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и Performance  Management</dc:title>
  <dc:creator>RePack by Diakov</dc:creator>
  <cp:lastModifiedBy>Ziyatdinov Iskander</cp:lastModifiedBy>
  <cp:revision>1399</cp:revision>
  <cp:lastPrinted>2021-08-25T13:49:15Z</cp:lastPrinted>
  <dcterms:created xsi:type="dcterms:W3CDTF">2017-10-06T09:46:43Z</dcterms:created>
  <dcterms:modified xsi:type="dcterms:W3CDTF">2022-11-14T14:03:14Z</dcterms:modified>
</cp:coreProperties>
</file>